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03" r:id="rId1"/>
  </p:sldMasterIdLst>
  <p:notesMasterIdLst>
    <p:notesMasterId r:id="rId3"/>
  </p:notesMasterIdLst>
  <p:handoutMasterIdLst>
    <p:handoutMasterId r:id="rId4"/>
  </p:handoutMasterIdLst>
  <p:sldIdLst>
    <p:sldId id="1050" r:id="rId2"/>
  </p:sldIdLst>
  <p:sldSz cx="12192000" cy="6858000"/>
  <p:notesSz cx="7102475" cy="10233025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E704D21-3BA3-4B52-AB4A-4266B83F7140}">
          <p14:sldIdLst>
            <p14:sldId id="105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vid Schmalzing" initials="DS" lastIdx="1" clrIdx="0">
    <p:extLst>
      <p:ext uri="{19B8F6BF-5375-455C-9EA6-DF929625EA0E}">
        <p15:presenceInfo xmlns:p15="http://schemas.microsoft.com/office/powerpoint/2012/main" userId="David Schmalzing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49F"/>
    <a:srgbClr val="6A3E3E"/>
    <a:srgbClr val="7F0055"/>
    <a:srgbClr val="0000BE"/>
    <a:srgbClr val="2F00BD"/>
    <a:srgbClr val="002A50"/>
    <a:srgbClr val="B3D3E9"/>
    <a:srgbClr val="006DB6"/>
    <a:srgbClr val="0DA3FF"/>
    <a:srgbClr val="0068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4BEC4F-E3FD-A447-A4E0-D73942548911}" v="1" dt="2019-04-01T12:40:37.7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92" autoAdjust="0"/>
    <p:restoredTop sz="86780" autoAdjust="0"/>
  </p:normalViewPr>
  <p:slideViewPr>
    <p:cSldViewPr snapToGrid="0">
      <p:cViewPr>
        <p:scale>
          <a:sx n="55" d="100"/>
          <a:sy n="55" d="100"/>
        </p:scale>
        <p:origin x="540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316"/>
    </p:cViewPr>
  </p:sorterViewPr>
  <p:notesViewPr>
    <p:cSldViewPr snapToGrid="0">
      <p:cViewPr varScale="1">
        <p:scale>
          <a:sx n="92" d="100"/>
          <a:sy n="92" d="100"/>
        </p:scale>
        <p:origin x="280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33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32" Type="http://schemas.microsoft.com/office/2015/10/relationships/revisionInfo" Target="revisionInfo.xml"/><Relationship Id="rId5" Type="http://schemas.openxmlformats.org/officeDocument/2006/relationships/commentAuthors" Target="commentAuthors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örg Christian Kirchhof" userId="ee804fd8-b348-4f17-843b-2dd3c3daa85b" providerId="ADAL" clId="{6C4BEC4F-E3FD-A447-A4E0-D73942548911}"/>
    <pc:docChg chg="custSel modMainMaster">
      <pc:chgData name="Jörg Christian Kirchhof" userId="ee804fd8-b348-4f17-843b-2dd3c3daa85b" providerId="ADAL" clId="{6C4BEC4F-E3FD-A447-A4E0-D73942548911}" dt="2019-04-01T12:40:37.781" v="1"/>
      <pc:docMkLst>
        <pc:docMk/>
      </pc:docMkLst>
      <pc:sldMasterChg chg="modSldLayout">
        <pc:chgData name="Jörg Christian Kirchhof" userId="ee804fd8-b348-4f17-843b-2dd3c3daa85b" providerId="ADAL" clId="{6C4BEC4F-E3FD-A447-A4E0-D73942548911}" dt="2019-04-01T12:40:37.781" v="1"/>
        <pc:sldMasterMkLst>
          <pc:docMk/>
          <pc:sldMasterMk cId="728331341" sldId="2147483903"/>
        </pc:sldMasterMkLst>
        <pc:sldLayoutChg chg="addSp delSp">
          <pc:chgData name="Jörg Christian Kirchhof" userId="ee804fd8-b348-4f17-843b-2dd3c3daa85b" providerId="ADAL" clId="{6C4BEC4F-E3FD-A447-A4E0-D73942548911}" dt="2019-04-01T12:40:37.781" v="1"/>
          <pc:sldLayoutMkLst>
            <pc:docMk/>
            <pc:sldMasterMk cId="728331341" sldId="2147483903"/>
            <pc:sldLayoutMk cId="4265886966" sldId="2147483904"/>
          </pc:sldLayoutMkLst>
          <pc:picChg chg="del">
            <ac:chgData name="Jörg Christian Kirchhof" userId="ee804fd8-b348-4f17-843b-2dd3c3daa85b" providerId="ADAL" clId="{6C4BEC4F-E3FD-A447-A4E0-D73942548911}" dt="2019-04-01T12:40:37.220" v="0" actId="478"/>
            <ac:picMkLst>
              <pc:docMk/>
              <pc:sldMasterMk cId="728331341" sldId="2147483903"/>
              <pc:sldLayoutMk cId="4265886966" sldId="2147483904"/>
              <ac:picMk id="4" creationId="{00000000-0000-0000-0000-000000000000}"/>
            </ac:picMkLst>
          </pc:picChg>
          <pc:picChg chg="add">
            <ac:chgData name="Jörg Christian Kirchhof" userId="ee804fd8-b348-4f17-843b-2dd3c3daa85b" providerId="ADAL" clId="{6C4BEC4F-E3FD-A447-A4E0-D73942548911}" dt="2019-04-01T12:40:37.781" v="1"/>
            <ac:picMkLst>
              <pc:docMk/>
              <pc:sldMasterMk cId="728331341" sldId="2147483903"/>
              <pc:sldLayoutMk cId="4265886966" sldId="2147483904"/>
              <ac:picMk id="36" creationId="{B3B93E4D-374B-FF43-9676-DA755D47565F}"/>
            </ac:picMkLst>
          </pc:pic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7951" cy="5126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2937" y="1"/>
            <a:ext cx="3077951" cy="5126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smtClean="0"/>
            </a:lvl1pPr>
          </a:lstStyle>
          <a:p>
            <a:pPr>
              <a:defRPr/>
            </a:pPr>
            <a:fld id="{88BCBB3B-932A-4D6C-900D-9F4B28686221}" type="datetimeFigureOut">
              <a:rPr lang="de-DE" altLang="de-DE"/>
              <a:pPr>
                <a:defRPr/>
              </a:pPr>
              <a:t>01.11.2021</a:t>
            </a:fld>
            <a:endParaRPr lang="de-DE" alt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0342"/>
            <a:ext cx="3077951" cy="5126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2937" y="9720342"/>
            <a:ext cx="3077951" cy="51268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/>
            </a:lvl1pPr>
          </a:lstStyle>
          <a:p>
            <a:fld id="{935FA329-B071-4BC1-BBB5-3B07BBB55D93}" type="slidenum">
              <a:rPr lang="de-DE" altLang="de-DE"/>
              <a:pPr/>
              <a:t>‹Nr.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7951" cy="5126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2937" y="1"/>
            <a:ext cx="3077951" cy="5126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smtClean="0"/>
            </a:lvl1pPr>
          </a:lstStyle>
          <a:p>
            <a:pPr>
              <a:defRPr/>
            </a:pPr>
            <a:fld id="{B02CD211-E599-4F87-85BA-4D602CEE05A3}" type="datetimeFigureOut">
              <a:rPr lang="de-DE" altLang="de-DE"/>
              <a:pPr>
                <a:defRPr/>
              </a:pPr>
              <a:t>01.11.2021</a:t>
            </a:fld>
            <a:endParaRPr lang="de-DE" alt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1" y="4925249"/>
            <a:ext cx="5682615" cy="40284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/>
              <a:t>Textmasterformat bearbeiten</a:t>
            </a:r>
          </a:p>
          <a:p>
            <a:pPr lvl="1"/>
            <a:r>
              <a:rPr lang="de-DE" altLang="de-DE" noProof="0"/>
              <a:t>Zweite Ebene</a:t>
            </a:r>
          </a:p>
          <a:p>
            <a:pPr lvl="2"/>
            <a:r>
              <a:rPr lang="de-DE" altLang="de-DE" noProof="0"/>
              <a:t>Dritte Ebene</a:t>
            </a:r>
          </a:p>
          <a:p>
            <a:pPr lvl="3"/>
            <a:r>
              <a:rPr lang="de-DE" altLang="de-DE" noProof="0"/>
              <a:t>Vierte Ebene</a:t>
            </a:r>
          </a:p>
          <a:p>
            <a:pPr lvl="4"/>
            <a:r>
              <a:rPr lang="de-DE" alt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0342"/>
            <a:ext cx="3077951" cy="5126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2937" y="9720342"/>
            <a:ext cx="3077951" cy="51268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/>
            </a:lvl1pPr>
          </a:lstStyle>
          <a:p>
            <a:fld id="{1BC8D279-B8BC-4FA6-86F2-E41329D88EBB}" type="slidenum">
              <a:rPr lang="de-DE" altLang="de-DE"/>
              <a:pPr/>
              <a:t>‹Nr.›</a:t>
            </a:fld>
            <a:endParaRPr lang="de-DE" alt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ＭＳ Ｐゴシック" charset="0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und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88F71EE3-D70A-4C02-A968-4B934D1A0EFF}"/>
              </a:ext>
            </a:extLst>
          </p:cNvPr>
          <p:cNvGrpSpPr/>
          <p:nvPr/>
        </p:nvGrpSpPr>
        <p:grpSpPr>
          <a:xfrm>
            <a:off x="107622" y="2351366"/>
            <a:ext cx="11972884" cy="50805"/>
            <a:chOff x="107622" y="6209964"/>
            <a:chExt cx="11972884" cy="50805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C845E14-D05D-4847-8D0F-48B225F97F2B}"/>
                </a:ext>
              </a:extLst>
            </p:cNvPr>
            <p:cNvGrpSpPr/>
            <p:nvPr/>
          </p:nvGrpSpPr>
          <p:grpSpPr>
            <a:xfrm>
              <a:off x="107622" y="6209964"/>
              <a:ext cx="11533593" cy="50805"/>
              <a:chOff x="348640" y="815854"/>
              <a:chExt cx="11533593" cy="50805"/>
            </a:xfrm>
          </p:grpSpPr>
          <p:cxnSp>
            <p:nvCxnSpPr>
              <p:cNvPr id="22" name="Gerader Verbinder 21">
                <a:extLst>
                  <a:ext uri="{FF2B5EF4-FFF2-40B4-BE49-F238E27FC236}">
                    <a16:creationId xmlns:a16="http://schemas.microsoft.com/office/drawing/2014/main" id="{DEAA3F24-7ABD-43F2-AA45-BF5173CF32C5}"/>
                  </a:ext>
                </a:extLst>
              </p:cNvPr>
              <p:cNvCxnSpPr/>
              <p:nvPr/>
            </p:nvCxnSpPr>
            <p:spPr>
              <a:xfrm>
                <a:off x="348640" y="815854"/>
                <a:ext cx="11483975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r Verbinder 22">
                <a:extLst>
                  <a:ext uri="{FF2B5EF4-FFF2-40B4-BE49-F238E27FC236}">
                    <a16:creationId xmlns:a16="http://schemas.microsoft.com/office/drawing/2014/main" id="{6AFAD796-294C-4678-84E4-36609DA3DE96}"/>
                  </a:ext>
                </a:extLst>
              </p:cNvPr>
              <p:cNvCxnSpPr/>
              <p:nvPr/>
            </p:nvCxnSpPr>
            <p:spPr>
              <a:xfrm>
                <a:off x="398258" y="866659"/>
                <a:ext cx="11483975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2C515608-7894-4009-BE21-62D65B382976}"/>
                </a:ext>
              </a:extLst>
            </p:cNvPr>
            <p:cNvGrpSpPr/>
            <p:nvPr/>
          </p:nvGrpSpPr>
          <p:grpSpPr>
            <a:xfrm>
              <a:off x="11552113" y="6209964"/>
              <a:ext cx="528393" cy="50805"/>
              <a:chOff x="422890" y="1711364"/>
              <a:chExt cx="528393" cy="50805"/>
            </a:xfrm>
          </p:grpSpPr>
          <p:cxnSp>
            <p:nvCxnSpPr>
              <p:cNvPr id="20" name="Gerader Verbinder 19">
                <a:extLst>
                  <a:ext uri="{FF2B5EF4-FFF2-40B4-BE49-F238E27FC236}">
                    <a16:creationId xmlns:a16="http://schemas.microsoft.com/office/drawing/2014/main" id="{0334CBD9-C046-4B8D-8306-1B31D1E6CD28}"/>
                  </a:ext>
                </a:extLst>
              </p:cNvPr>
              <p:cNvCxnSpPr/>
              <p:nvPr/>
            </p:nvCxnSpPr>
            <p:spPr>
              <a:xfrm>
                <a:off x="422890" y="1711364"/>
                <a:ext cx="478775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r Verbinder 20">
                <a:extLst>
                  <a:ext uri="{FF2B5EF4-FFF2-40B4-BE49-F238E27FC236}">
                    <a16:creationId xmlns:a16="http://schemas.microsoft.com/office/drawing/2014/main" id="{10AEC939-0940-4439-A734-7AAF6763DFF8}"/>
                  </a:ext>
                </a:extLst>
              </p:cNvPr>
              <p:cNvCxnSpPr/>
              <p:nvPr/>
            </p:nvCxnSpPr>
            <p:spPr>
              <a:xfrm>
                <a:off x="472508" y="1762169"/>
                <a:ext cx="478775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942CAEF3-4F48-4FEC-9E09-79D3F41BC518}"/>
              </a:ext>
            </a:extLst>
          </p:cNvPr>
          <p:cNvGrpSpPr/>
          <p:nvPr/>
        </p:nvGrpSpPr>
        <p:grpSpPr>
          <a:xfrm>
            <a:off x="643376" y="2351364"/>
            <a:ext cx="50806" cy="4388819"/>
            <a:chOff x="643376" y="2351365"/>
            <a:chExt cx="50806" cy="3909404"/>
          </a:xfrm>
        </p:grpSpPr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15E654C8-5ED2-482F-82FE-D8B7AB672D1B}"/>
                </a:ext>
              </a:extLst>
            </p:cNvPr>
            <p:cNvCxnSpPr/>
            <p:nvPr/>
          </p:nvCxnSpPr>
          <p:spPr>
            <a:xfrm flipH="1">
              <a:off x="643376" y="2351365"/>
              <a:ext cx="1" cy="385860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85CBF0CD-26F9-4ACF-A893-9837FC6A792A}"/>
                </a:ext>
              </a:extLst>
            </p:cNvPr>
            <p:cNvCxnSpPr/>
            <p:nvPr/>
          </p:nvCxnSpPr>
          <p:spPr>
            <a:xfrm flipH="1">
              <a:off x="694181" y="2400983"/>
              <a:ext cx="1" cy="3859786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3B422C15-1DE6-4DF9-8E96-5CA1632191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32434" y="2584876"/>
            <a:ext cx="10886925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983979DD-F31A-4483-BB1A-22D5710FA3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2434" y="3078076"/>
            <a:ext cx="10886925" cy="926892"/>
          </a:xfrm>
          <a:prstGeom prst="rect">
            <a:avLst/>
          </a:prstGeom>
        </p:spPr>
        <p:txBody>
          <a:bodyPr lIns="0" tIns="0" rIns="0" bIns="0"/>
          <a:lstStyle>
            <a:lvl1pPr marL="0" indent="0" algn="l" eaLnBrk="1" hangingPunct="1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eaLnBrk="1" hangingPunct="1"/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7EE02E37-16C7-4AED-B03D-D2D32DD5AE21}"/>
              </a:ext>
            </a:extLst>
          </p:cNvPr>
          <p:cNvGrpSpPr/>
          <p:nvPr userDrawn="1"/>
        </p:nvGrpSpPr>
        <p:grpSpPr>
          <a:xfrm>
            <a:off x="107622" y="2351366"/>
            <a:ext cx="11972884" cy="50805"/>
            <a:chOff x="107622" y="6209964"/>
            <a:chExt cx="11972884" cy="50805"/>
          </a:xfrm>
        </p:grpSpPr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757562EE-1B2D-44E7-A590-9E9EDBC85B94}"/>
                </a:ext>
              </a:extLst>
            </p:cNvPr>
            <p:cNvGrpSpPr/>
            <p:nvPr userDrawn="1"/>
          </p:nvGrpSpPr>
          <p:grpSpPr>
            <a:xfrm>
              <a:off x="107622" y="6209964"/>
              <a:ext cx="11533593" cy="50805"/>
              <a:chOff x="348640" y="815854"/>
              <a:chExt cx="11533593" cy="50805"/>
            </a:xfrm>
          </p:grpSpPr>
          <p:cxnSp>
            <p:nvCxnSpPr>
              <p:cNvPr id="31" name="Gerader Verbinder 30">
                <a:extLst>
                  <a:ext uri="{FF2B5EF4-FFF2-40B4-BE49-F238E27FC236}">
                    <a16:creationId xmlns:a16="http://schemas.microsoft.com/office/drawing/2014/main" id="{5705C926-C661-4870-90F5-B8FE6824FA3E}"/>
                  </a:ext>
                </a:extLst>
              </p:cNvPr>
              <p:cNvCxnSpPr/>
              <p:nvPr userDrawn="1"/>
            </p:nvCxnSpPr>
            <p:spPr>
              <a:xfrm>
                <a:off x="348640" y="815854"/>
                <a:ext cx="11483975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61340FDD-0028-43F6-9B43-780A9256EA84}"/>
                  </a:ext>
                </a:extLst>
              </p:cNvPr>
              <p:cNvCxnSpPr/>
              <p:nvPr userDrawn="1"/>
            </p:nvCxnSpPr>
            <p:spPr>
              <a:xfrm>
                <a:off x="398258" y="866659"/>
                <a:ext cx="11483975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7471FCE-9EBC-4563-B643-791B6D9CF2C5}"/>
                </a:ext>
              </a:extLst>
            </p:cNvPr>
            <p:cNvGrpSpPr/>
            <p:nvPr userDrawn="1"/>
          </p:nvGrpSpPr>
          <p:grpSpPr>
            <a:xfrm>
              <a:off x="11552113" y="6209964"/>
              <a:ext cx="528393" cy="50805"/>
              <a:chOff x="422890" y="1711364"/>
              <a:chExt cx="528393" cy="50805"/>
            </a:xfrm>
          </p:grpSpPr>
          <p:cxnSp>
            <p:nvCxnSpPr>
              <p:cNvPr id="29" name="Gerader Verbinder 28">
                <a:extLst>
                  <a:ext uri="{FF2B5EF4-FFF2-40B4-BE49-F238E27FC236}">
                    <a16:creationId xmlns:a16="http://schemas.microsoft.com/office/drawing/2014/main" id="{DEBBEDD9-913B-43A7-92D2-70200277794A}"/>
                  </a:ext>
                </a:extLst>
              </p:cNvPr>
              <p:cNvCxnSpPr/>
              <p:nvPr userDrawn="1"/>
            </p:nvCxnSpPr>
            <p:spPr>
              <a:xfrm>
                <a:off x="422890" y="1711364"/>
                <a:ext cx="478775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r Verbinder 29">
                <a:extLst>
                  <a:ext uri="{FF2B5EF4-FFF2-40B4-BE49-F238E27FC236}">
                    <a16:creationId xmlns:a16="http://schemas.microsoft.com/office/drawing/2014/main" id="{F7EBB47A-B507-4D7F-9E88-09CE2A7386CD}"/>
                  </a:ext>
                </a:extLst>
              </p:cNvPr>
              <p:cNvCxnSpPr/>
              <p:nvPr userDrawn="1"/>
            </p:nvCxnSpPr>
            <p:spPr>
              <a:xfrm>
                <a:off x="472508" y="1762169"/>
                <a:ext cx="478775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B17A0267-74CA-449E-AFFC-93B6796DAFC7}"/>
              </a:ext>
            </a:extLst>
          </p:cNvPr>
          <p:cNvGrpSpPr/>
          <p:nvPr userDrawn="1"/>
        </p:nvGrpSpPr>
        <p:grpSpPr>
          <a:xfrm>
            <a:off x="643376" y="2351364"/>
            <a:ext cx="50806" cy="4388819"/>
            <a:chOff x="643376" y="2351365"/>
            <a:chExt cx="50806" cy="3909404"/>
          </a:xfrm>
        </p:grpSpPr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298FA662-EA6F-40FE-BBAD-CBDF6AB6DBCB}"/>
                </a:ext>
              </a:extLst>
            </p:cNvPr>
            <p:cNvCxnSpPr/>
            <p:nvPr userDrawn="1"/>
          </p:nvCxnSpPr>
          <p:spPr>
            <a:xfrm flipH="1">
              <a:off x="643376" y="2351365"/>
              <a:ext cx="1" cy="385860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A789B2B-F6CE-4245-989C-4A30EA0B1352}"/>
                </a:ext>
              </a:extLst>
            </p:cNvPr>
            <p:cNvCxnSpPr/>
            <p:nvPr userDrawn="1"/>
          </p:nvCxnSpPr>
          <p:spPr>
            <a:xfrm flipH="1">
              <a:off x="694181" y="2400983"/>
              <a:ext cx="1" cy="3859786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uppieren 36"/>
          <p:cNvGrpSpPr/>
          <p:nvPr userDrawn="1"/>
        </p:nvGrpSpPr>
        <p:grpSpPr>
          <a:xfrm>
            <a:off x="-8389" y="-8254"/>
            <a:ext cx="12204835" cy="2346530"/>
            <a:chOff x="-12835" y="1030557"/>
            <a:chExt cx="12204835" cy="2346530"/>
          </a:xfrm>
        </p:grpSpPr>
        <p:sp>
          <p:nvSpPr>
            <p:cNvPr id="38" name="Rechteck 37"/>
            <p:cNvSpPr/>
            <p:nvPr/>
          </p:nvSpPr>
          <p:spPr>
            <a:xfrm>
              <a:off x="0" y="1030557"/>
              <a:ext cx="12192000" cy="2297434"/>
            </a:xfrm>
            <a:prstGeom prst="rect">
              <a:avLst/>
            </a:prstGeom>
            <a:solidFill>
              <a:srgbClr val="00549F"/>
            </a:solidFill>
            <a:ln w="12700" cap="flat" cmpd="sng" algn="ctr">
              <a:noFill/>
              <a:prstDash val="solid"/>
              <a:miter lim="800000"/>
              <a:headEnd type="none" w="med" len="med"/>
              <a:tailEnd type="arrow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9" name="Gruppieren 38"/>
            <p:cNvGrpSpPr/>
            <p:nvPr/>
          </p:nvGrpSpPr>
          <p:grpSpPr>
            <a:xfrm>
              <a:off x="-12835" y="1030557"/>
              <a:ext cx="12204835" cy="2346530"/>
              <a:chOff x="-12835" y="1032778"/>
              <a:chExt cx="12204835" cy="2362969"/>
            </a:xfrm>
          </p:grpSpPr>
          <p:pic>
            <p:nvPicPr>
              <p:cNvPr id="40" name="Grafik 39"/>
              <p:cNvPicPr>
                <a:picLocks noChangeAspect="1"/>
              </p:cNvPicPr>
              <p:nvPr/>
            </p:nvPicPr>
            <p:blipFill rotWithShape="1">
              <a:blip r:embed="rId3">
                <a:lum bright="70000" contrast="-70000"/>
              </a:blip>
              <a:srcRect l="4123" t="5980" r="10107" b="34465"/>
              <a:stretch/>
            </p:blipFill>
            <p:spPr>
              <a:xfrm>
                <a:off x="6034471" y="1038029"/>
                <a:ext cx="6122894" cy="2357718"/>
              </a:xfrm>
              <a:prstGeom prst="rect">
                <a:avLst/>
              </a:prstGeom>
            </p:spPr>
          </p:pic>
          <p:pic>
            <p:nvPicPr>
              <p:cNvPr id="41" name="Grafik 40"/>
              <p:cNvPicPr>
                <a:picLocks noChangeAspect="1"/>
              </p:cNvPicPr>
              <p:nvPr/>
            </p:nvPicPr>
            <p:blipFill rotWithShape="1">
              <a:blip r:embed="rId4">
                <a:lum bright="70000" contrast="-70000"/>
              </a:blip>
              <a:srcRect l="2186" t="24453" r="3833" b="12011"/>
              <a:stretch/>
            </p:blipFill>
            <p:spPr>
              <a:xfrm>
                <a:off x="-12835" y="1064923"/>
                <a:ext cx="7293400" cy="2303930"/>
              </a:xfrm>
              <a:prstGeom prst="rect">
                <a:avLst/>
              </a:prstGeom>
            </p:spPr>
          </p:pic>
          <p:pic>
            <p:nvPicPr>
              <p:cNvPr id="42" name="Grafik 41"/>
              <p:cNvPicPr>
                <a:picLocks noChangeAspect="1"/>
              </p:cNvPicPr>
              <p:nvPr/>
            </p:nvPicPr>
            <p:blipFill rotWithShape="1">
              <a:blip r:embed="rId5">
                <a:lum bright="70000" contrast="-70000"/>
              </a:blip>
              <a:srcRect l="978" t="7138" r="438" b="7289"/>
              <a:stretch/>
            </p:blipFill>
            <p:spPr>
              <a:xfrm>
                <a:off x="4317730" y="1057451"/>
                <a:ext cx="4778188" cy="2300089"/>
              </a:xfrm>
              <a:prstGeom prst="rect">
                <a:avLst/>
              </a:prstGeom>
            </p:spPr>
          </p:pic>
          <p:pic>
            <p:nvPicPr>
              <p:cNvPr id="43" name="Grafik 42"/>
              <p:cNvPicPr>
                <a:picLocks noChangeAspect="1"/>
              </p:cNvPicPr>
              <p:nvPr/>
            </p:nvPicPr>
            <p:blipFill rotWithShape="1">
              <a:blip r:embed="rId6">
                <a:lum bright="70000" contrast="-70000"/>
              </a:blip>
              <a:srcRect r="642"/>
              <a:stretch/>
            </p:blipFill>
            <p:spPr>
              <a:xfrm>
                <a:off x="8558469" y="1170394"/>
                <a:ext cx="3403437" cy="2043006"/>
              </a:xfrm>
              <a:prstGeom prst="rect">
                <a:avLst/>
              </a:prstGeom>
            </p:spPr>
          </p:pic>
          <p:pic>
            <p:nvPicPr>
              <p:cNvPr id="44" name="Grafik 43"/>
              <p:cNvPicPr>
                <a:picLocks noChangeAspect="1"/>
              </p:cNvPicPr>
              <p:nvPr/>
            </p:nvPicPr>
            <p:blipFill rotWithShape="1">
              <a:blip r:embed="rId7">
                <a:lum bright="70000" contrast="-70000"/>
              </a:blip>
              <a:srcRect l="12615" t="8698" r="-1842" b="932"/>
              <a:stretch/>
            </p:blipFill>
            <p:spPr>
              <a:xfrm>
                <a:off x="331428" y="1059845"/>
                <a:ext cx="4655314" cy="2316480"/>
              </a:xfrm>
              <a:prstGeom prst="rect">
                <a:avLst/>
              </a:prstGeom>
            </p:spPr>
          </p:pic>
          <p:sp>
            <p:nvSpPr>
              <p:cNvPr id="45" name="Rechteck 44"/>
              <p:cNvSpPr/>
              <p:nvPr/>
            </p:nvSpPr>
            <p:spPr>
              <a:xfrm>
                <a:off x="-12835" y="1032778"/>
                <a:ext cx="12204835" cy="2318237"/>
              </a:xfrm>
              <a:prstGeom prst="rect">
                <a:avLst/>
              </a:prstGeom>
              <a:gradFill flip="none" rotWithShape="1">
                <a:gsLst>
                  <a:gs pos="49000">
                    <a:srgbClr val="8EBAE5">
                      <a:lumMod val="75000"/>
                      <a:alpha val="36000"/>
                    </a:srgbClr>
                  </a:gs>
                  <a:gs pos="100000">
                    <a:srgbClr val="00549F"/>
                  </a:gs>
                </a:gsLst>
                <a:lin ang="10800000" scaled="1"/>
                <a:tileRect/>
              </a:gradFill>
              <a:ln w="12700" cap="flat" cmpd="sng" algn="ctr">
                <a:noFill/>
                <a:prstDash val="solid"/>
                <a:miter lim="800000"/>
                <a:headEnd type="none" w="med" len="med"/>
                <a:tailEnd type="arrow" w="med" len="me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65886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3F02B50-D467-41F6-8F0B-DF2AA821368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84000" y="1236273"/>
            <a:ext cx="11483975" cy="4385455"/>
          </a:xfrm>
          <a:prstGeom prst="rect">
            <a:avLst/>
          </a:prstGeom>
        </p:spPr>
        <p:txBody>
          <a:bodyPr wrap="square" lIns="0" tIns="0" rIns="0" bIns="0"/>
          <a:lstStyle>
            <a:lvl1pPr marL="216000" indent="-216000">
              <a:buFont typeface="Arial" panose="020B0604020202020204" pitchFamily="34" charset="0"/>
              <a:buChar char="•"/>
              <a:defRPr/>
            </a:lvl1pPr>
            <a:lvl2pPr marL="432000" indent="-216000">
              <a:buFont typeface="Symbol" panose="05050102010706020507" pitchFamily="18" charset="2"/>
              <a:buChar char="-"/>
              <a:defRPr/>
            </a:lvl2pPr>
            <a:lvl3pPr marL="648000" marR="0" indent="-216000" algn="l" defTabSz="215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/>
            </a:lvl3pPr>
            <a:lvl4pPr marL="864000" indent="-216000">
              <a:buFont typeface="Symbol" panose="05050102010706020507" pitchFamily="18" charset="2"/>
              <a:buChar char="-"/>
              <a:defRPr/>
            </a:lvl4pPr>
            <a:lvl5pPr marL="647700" indent="0">
              <a:buNone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00" y="211432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07945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und Far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AD89513B-8A7E-430E-8F63-7469EC1FB664}"/>
              </a:ext>
            </a:extLst>
          </p:cNvPr>
          <p:cNvGrpSpPr/>
          <p:nvPr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D6F83956-15CC-418E-B737-9061141E4CD3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66B5100-86F8-4E8C-9DE1-10AD5FB9BE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Rechteck 3"/>
          <p:cNvSpPr/>
          <p:nvPr/>
        </p:nvSpPr>
        <p:spPr>
          <a:xfrm>
            <a:off x="0" y="0"/>
            <a:ext cx="12192000" cy="23129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385200" y="2487600"/>
            <a:ext cx="1148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9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5703F518-B554-4AC1-A90D-7EDD58F262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84000" cy="926892"/>
          </a:xfrm>
          <a:prstGeom prst="rect">
            <a:avLst/>
          </a:prstGeom>
        </p:spPr>
        <p:txBody>
          <a:bodyPr lIns="0" tIns="0" rIns="0" bIns="0"/>
          <a:lstStyle>
            <a:lvl1pPr marL="0" indent="0" algn="l" eaLnBrk="1" hangingPunct="1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eaLnBrk="1" hangingPunct="1"/>
            <a:r>
              <a:rPr lang="de-DE" dirty="0"/>
              <a:t>Untertitelmasters durch Klicken bearbeiten</a:t>
            </a:r>
            <a:endParaRPr lang="en-US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D9FA7CF-D871-4A92-B637-6BD1D2660BDF}"/>
              </a:ext>
            </a:extLst>
          </p:cNvPr>
          <p:cNvGrpSpPr/>
          <p:nvPr userDrawn="1"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2A6B56BE-B7D9-4ABB-9FC4-4C2C40CB6703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B385CDCE-8F09-4AAB-B014-0073E7D0486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feld 12"/>
          <p:cNvSpPr txBox="1"/>
          <p:nvPr userDrawn="1"/>
        </p:nvSpPr>
        <p:spPr>
          <a:xfrm>
            <a:off x="779929" y="2399316"/>
            <a:ext cx="1119564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chemeClr val="accent6"/>
                </a:solidFill>
              </a:rPr>
              <a:t>WRONG</a:t>
            </a:r>
            <a:r>
              <a:rPr lang="en-US" sz="9600" baseline="0" dirty="0">
                <a:solidFill>
                  <a:schemeClr val="accent6"/>
                </a:solidFill>
              </a:rPr>
              <a:t> </a:t>
            </a:r>
            <a:r>
              <a:rPr lang="en-US" sz="9600" dirty="0">
                <a:solidFill>
                  <a:schemeClr val="accent6"/>
                </a:solidFill>
              </a:rPr>
              <a:t>FORMAT</a:t>
            </a:r>
          </a:p>
          <a:p>
            <a:r>
              <a:rPr lang="en-US" sz="9600" dirty="0">
                <a:solidFill>
                  <a:schemeClr val="accent6"/>
                </a:solidFill>
              </a:rPr>
              <a:t>DO NOT USE </a:t>
            </a:r>
            <a:r>
              <a:rPr lang="en-US" sz="1800" dirty="0" err="1">
                <a:solidFill>
                  <a:schemeClr val="accent6"/>
                </a:solidFill>
              </a:rPr>
              <a:t>use</a:t>
            </a:r>
            <a:r>
              <a:rPr lang="en-US" sz="1800" dirty="0">
                <a:solidFill>
                  <a:schemeClr val="accent6"/>
                </a:solidFill>
              </a:rPr>
              <a:t> head instead</a:t>
            </a:r>
          </a:p>
        </p:txBody>
      </p:sp>
    </p:spTree>
    <p:extLst>
      <p:ext uri="{BB962C8B-B14F-4D97-AF65-F5344CB8AC3E}">
        <p14:creationId xmlns:p14="http://schemas.microsoft.com/office/powerpoint/2010/main" val="13352533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1A05299-2FF2-4A4F-A821-7C9F8454768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84000" y="1235175"/>
            <a:ext cx="5652000" cy="4385941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 marL="648000" indent="-216000">
              <a:buFont typeface="Wingdings" panose="05000000000000000000" pitchFamily="2" charset="2"/>
              <a:buChar char="§"/>
              <a:defRPr/>
            </a:lvl3pPr>
            <a:lvl4pPr marL="864000" marR="0" indent="-216000" algn="l" defTabSz="215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tabLst>
                <a:tab pos="863600" algn="l"/>
              </a:tabLst>
              <a:defRPr spc="0" baseline="0"/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00" y="201600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31E01F76-AA87-4FC5-AF89-220C0D5275B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6000" y="1236273"/>
            <a:ext cx="5652000" cy="4385455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3" name="Textfeld 2"/>
          <p:cNvSpPr txBox="1"/>
          <p:nvPr userDrawn="1"/>
        </p:nvSpPr>
        <p:spPr>
          <a:xfrm>
            <a:off x="779929" y="2430576"/>
            <a:ext cx="11195648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chemeClr val="accent6"/>
                </a:solidFill>
              </a:rPr>
              <a:t>WRONG</a:t>
            </a:r>
            <a:r>
              <a:rPr lang="en-US" sz="9600" baseline="0" dirty="0">
                <a:solidFill>
                  <a:schemeClr val="accent6"/>
                </a:solidFill>
              </a:rPr>
              <a:t> </a:t>
            </a:r>
            <a:r>
              <a:rPr lang="en-US" sz="9600" dirty="0">
                <a:solidFill>
                  <a:schemeClr val="accent6"/>
                </a:solidFill>
              </a:rPr>
              <a:t>FORMA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600" dirty="0">
                <a:solidFill>
                  <a:schemeClr val="accent6"/>
                </a:solidFill>
              </a:rPr>
              <a:t>DO NOT US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CC071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use the flipped one instead (and manually copy the content(!) of the flipped pages)</a:t>
            </a:r>
          </a:p>
        </p:txBody>
      </p:sp>
    </p:spTree>
    <p:extLst>
      <p:ext uri="{BB962C8B-B14F-4D97-AF65-F5344CB8AC3E}">
        <p14:creationId xmlns:p14="http://schemas.microsoft.com/office/powerpoint/2010/main" val="4921002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1A05299-2FF2-4A4F-A821-7C9F8454768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16000" y="1234689"/>
            <a:ext cx="5652000" cy="4385941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 marL="648000" indent="-216000">
              <a:buFont typeface="Wingdings" panose="05000000000000000000" pitchFamily="2" charset="2"/>
              <a:buChar char="§"/>
              <a:defRPr/>
            </a:lvl3pPr>
            <a:lvl4pPr marL="864000" marR="0" indent="-216000" algn="l" defTabSz="215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tabLst>
                <a:tab pos="863600" algn="l"/>
              </a:tabLst>
              <a:defRPr spc="0" baseline="0"/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00" y="201600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31E01F76-AA87-4FC5-AF89-220C0D5275B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84000" y="1235175"/>
            <a:ext cx="5652000" cy="4385455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2572799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mittig, Linie_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384000" y="2487600"/>
            <a:ext cx="1148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84000" y="2980800"/>
            <a:ext cx="1148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pic>
        <p:nvPicPr>
          <p:cNvPr id="6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BE9EC9F2-3C9F-4A4B-9463-32200C1888C5}"/>
              </a:ext>
            </a:extLst>
          </p:cNvPr>
          <p:cNvGrpSpPr/>
          <p:nvPr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5BE7F8F3-90E3-4324-B96F-F4C733799980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FB93F6E7-9B79-444E-9797-C017CBCD9F5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966A802-7238-4572-8B31-F10BAD15BE6A}"/>
              </a:ext>
            </a:extLst>
          </p:cNvPr>
          <p:cNvGrpSpPr/>
          <p:nvPr userDrawn="1"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01C63A65-01F5-4E3D-9EE7-E225D07B1954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97CBACAB-4E61-4BA4-A7E8-012536F511A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733699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mittig, Linie_mit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84000" y="2487600"/>
            <a:ext cx="1148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84000" y="3196800"/>
            <a:ext cx="1148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pic>
        <p:nvPicPr>
          <p:cNvPr id="6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uppieren 14"/>
          <p:cNvGrpSpPr/>
          <p:nvPr/>
        </p:nvGrpSpPr>
        <p:grpSpPr>
          <a:xfrm>
            <a:off x="392113" y="3036888"/>
            <a:ext cx="11558225" cy="50805"/>
            <a:chOff x="360363" y="6040438"/>
            <a:chExt cx="11558225" cy="50805"/>
          </a:xfrm>
        </p:grpSpPr>
        <p:cxnSp>
          <p:nvCxnSpPr>
            <p:cNvPr id="16" name="Gerader Verbinder 15"/>
            <p:cNvCxnSpPr/>
            <p:nvPr/>
          </p:nvCxnSpPr>
          <p:spPr>
            <a:xfrm>
              <a:off x="360363" y="6040438"/>
              <a:ext cx="11483975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/>
            <p:cNvCxnSpPr/>
            <p:nvPr/>
          </p:nvCxnSpPr>
          <p:spPr>
            <a:xfrm>
              <a:off x="434613" y="6091243"/>
              <a:ext cx="11483975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20B61E83-F62A-4E6F-9728-ABDE5413BA68}"/>
              </a:ext>
            </a:extLst>
          </p:cNvPr>
          <p:cNvGrpSpPr/>
          <p:nvPr/>
        </p:nvGrpSpPr>
        <p:grpSpPr>
          <a:xfrm>
            <a:off x="392113" y="3036888"/>
            <a:ext cx="11558225" cy="50805"/>
            <a:chOff x="360363" y="6040438"/>
            <a:chExt cx="11558225" cy="50805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D3ED25C8-3644-4C59-B80C-B3EC3EBB6C18}"/>
                </a:ext>
              </a:extLst>
            </p:cNvPr>
            <p:cNvCxnSpPr/>
            <p:nvPr/>
          </p:nvCxnSpPr>
          <p:spPr>
            <a:xfrm>
              <a:off x="360363" y="6040438"/>
              <a:ext cx="11483975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394E318B-6CC6-4660-9EC9-B8FEB8D24174}"/>
                </a:ext>
              </a:extLst>
            </p:cNvPr>
            <p:cNvCxnSpPr/>
            <p:nvPr/>
          </p:nvCxnSpPr>
          <p:spPr>
            <a:xfrm>
              <a:off x="434613" y="6091243"/>
              <a:ext cx="11483975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F7E0399E-000C-4919-9189-D72AC9F21B27}"/>
              </a:ext>
            </a:extLst>
          </p:cNvPr>
          <p:cNvGrpSpPr/>
          <p:nvPr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D39B952C-73F9-4639-9C6B-D79F321E7652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BD1F7EFE-C1E5-46CC-AC0C-2ACADE80B3A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3BEA13B8-67E5-4E0C-87FF-5C3A86F3E1BB}"/>
              </a:ext>
            </a:extLst>
          </p:cNvPr>
          <p:cNvGrpSpPr/>
          <p:nvPr userDrawn="1"/>
        </p:nvGrpSpPr>
        <p:grpSpPr>
          <a:xfrm>
            <a:off x="392113" y="3036888"/>
            <a:ext cx="11558225" cy="50805"/>
            <a:chOff x="360363" y="6040438"/>
            <a:chExt cx="11558225" cy="50805"/>
          </a:xfrm>
        </p:grpSpPr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2D7C05B6-2FEC-4BCF-B0D2-C4E0FBD988C4}"/>
                </a:ext>
              </a:extLst>
            </p:cNvPr>
            <p:cNvCxnSpPr/>
            <p:nvPr/>
          </p:nvCxnSpPr>
          <p:spPr>
            <a:xfrm>
              <a:off x="360363" y="6040438"/>
              <a:ext cx="11483975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1DD01610-9DF8-4DC4-93DF-34D4ADF39035}"/>
                </a:ext>
              </a:extLst>
            </p:cNvPr>
            <p:cNvCxnSpPr/>
            <p:nvPr userDrawn="1"/>
          </p:nvCxnSpPr>
          <p:spPr>
            <a:xfrm>
              <a:off x="434613" y="6091243"/>
              <a:ext cx="11483975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EE00B62C-5012-43AC-B2B8-7ABCCC897041}"/>
              </a:ext>
            </a:extLst>
          </p:cNvPr>
          <p:cNvGrpSpPr/>
          <p:nvPr userDrawn="1"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8204F29-F5C4-4D02-857A-E600F35F2E4F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4B9776-75B3-46D2-8C19-AE6D80A6416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052032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82588" y="2487613"/>
            <a:ext cx="11483975" cy="1079500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de-DE" altLang="de-DE" sz="3200" b="1" dirty="0">
                <a:solidFill>
                  <a:schemeClr val="tx2"/>
                </a:solidFill>
              </a:rPr>
              <a:t>Vielen Dank</a:t>
            </a:r>
            <a:br>
              <a:rPr lang="de-DE" altLang="de-DE" sz="3200" b="1" dirty="0">
                <a:solidFill>
                  <a:schemeClr val="tx2"/>
                </a:solidFill>
              </a:rPr>
            </a:br>
            <a:r>
              <a:rPr lang="de-DE" altLang="de-DE" sz="3200" b="1" dirty="0">
                <a:solidFill>
                  <a:schemeClr val="tx2"/>
                </a:solidFill>
              </a:rPr>
              <a:t>für Ihre Aufmerksamkeit</a:t>
            </a:r>
            <a:endParaRPr lang="en-US" altLang="de-DE" sz="3200" b="1" dirty="0">
              <a:solidFill>
                <a:schemeClr val="tx2"/>
              </a:solidFill>
            </a:endParaRPr>
          </a:p>
        </p:txBody>
      </p:sp>
      <p:sp>
        <p:nvSpPr>
          <p:cNvPr id="9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384000" y="3988800"/>
            <a:ext cx="11484000" cy="165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/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6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D42372E-A88B-49BE-BF8B-A349B6BE88BB}"/>
              </a:ext>
            </a:extLst>
          </p:cNvPr>
          <p:cNvGrpSpPr/>
          <p:nvPr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5E73DD95-497D-41DA-AE15-231D472ACF12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833C7AEA-7E75-4F96-A29D-6E01AE30A7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54A51D3-6BB0-4789-89BC-481D89445CBE}"/>
              </a:ext>
            </a:extLst>
          </p:cNvPr>
          <p:cNvGrpSpPr/>
          <p:nvPr userDrawn="1"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6F4FEE0A-400B-495A-BBAD-43B3BB9910CB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9BA932F8-ADAD-449E-8505-B146C5E26062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321442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749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" name="think-cell Folie" r:id="rId5" imgW="526" imgH="526" progId="TCLayout.ActiveDocument.1">
                  <p:embed/>
                </p:oleObj>
              </mc:Choice>
              <mc:Fallback>
                <p:oleObj name="think-cell Folie" r:id="rId5" imgW="526" imgH="5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0"/>
            <a:endParaRPr lang="de-DE" sz="2000" b="1" i="0" baseline="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00" y="201600"/>
            <a:ext cx="11473038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83117" y="998538"/>
            <a:ext cx="11473921" cy="48609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96681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739CD8DE-4C7D-4115-826C-095081C9C550}"/>
              </a:ext>
            </a:extLst>
          </p:cNvPr>
          <p:cNvGrpSpPr/>
          <p:nvPr/>
        </p:nvGrpSpPr>
        <p:grpSpPr>
          <a:xfrm>
            <a:off x="173529" y="815854"/>
            <a:ext cx="11958041" cy="47645"/>
            <a:chOff x="118201" y="5981715"/>
            <a:chExt cx="11958041" cy="47645"/>
          </a:xfrm>
        </p:grpSpPr>
        <p:cxnSp>
          <p:nvCxnSpPr>
            <p:cNvPr id="84" name="Gerader Verbinder 83">
              <a:extLst>
                <a:ext uri="{FF2B5EF4-FFF2-40B4-BE49-F238E27FC236}">
                  <a16:creationId xmlns:a16="http://schemas.microsoft.com/office/drawing/2014/main" id="{E7A10CC4-C78C-496F-ADD8-BFFEA15832AC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>
              <a:extLst>
                <a:ext uri="{FF2B5EF4-FFF2-40B4-BE49-F238E27FC236}">
                  <a16:creationId xmlns:a16="http://schemas.microsoft.com/office/drawing/2014/main" id="{8D031218-F43F-4F64-8EFA-18FF5CC8D4B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Slide Number Placeholder 5"/>
          <p:cNvSpPr txBox="1">
            <a:spLocks/>
          </p:cNvSpPr>
          <p:nvPr/>
        </p:nvSpPr>
        <p:spPr>
          <a:xfrm>
            <a:off x="1195388" y="6227763"/>
            <a:ext cx="7002462" cy="6302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900" dirty="0">
                <a:solidFill>
                  <a:schemeClr val="tx2"/>
                </a:solidFill>
              </a:rPr>
              <a:t>Nico Jansen | Software Engineering</a:t>
            </a:r>
            <a:r>
              <a:rPr lang="de-DE" altLang="de-DE" sz="900" baseline="0" dirty="0">
                <a:solidFill>
                  <a:schemeClr val="tx2"/>
                </a:solidFill>
              </a:rPr>
              <a:t>  |  RWTH Aachen</a:t>
            </a:r>
            <a:endParaRPr lang="de-DE" altLang="de-DE" sz="900" dirty="0">
              <a:solidFill>
                <a:schemeClr val="tx2"/>
              </a:solidFill>
            </a:endParaRPr>
          </a:p>
        </p:txBody>
      </p:sp>
      <p:sp>
        <p:nvSpPr>
          <p:cNvPr id="1031" name="Textfeld 13"/>
          <p:cNvSpPr txBox="1">
            <a:spLocks noChangeArrowheads="1"/>
          </p:cNvSpPr>
          <p:nvPr/>
        </p:nvSpPr>
        <p:spPr bwMode="auto">
          <a:xfrm>
            <a:off x="360363" y="6227763"/>
            <a:ext cx="730250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6546A872-26C7-4E5C-9125-775206BCBEA4}" type="slidenum">
              <a:rPr lang="de-DE" altLang="de-DE" sz="900">
                <a:solidFill>
                  <a:schemeClr val="tx2"/>
                </a:solidFill>
              </a:rPr>
              <a:pPr eaLnBrk="1" hangingPunct="1"/>
              <a:t>‹Nr.›</a:t>
            </a:fld>
            <a:endParaRPr lang="de-DE" altLang="de-DE" sz="900" dirty="0">
              <a:solidFill>
                <a:schemeClr val="tx2"/>
              </a:solidFill>
            </a:endParaRPr>
          </a:p>
        </p:txBody>
      </p:sp>
      <p:pic>
        <p:nvPicPr>
          <p:cNvPr id="8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73" name="Gruppieren 72">
            <a:extLst>
              <a:ext uri="{FF2B5EF4-FFF2-40B4-BE49-F238E27FC236}">
                <a16:creationId xmlns:a16="http://schemas.microsoft.com/office/drawing/2014/main" id="{B07601A5-C709-41D1-A3FB-1067D511C6A0}"/>
              </a:ext>
            </a:extLst>
          </p:cNvPr>
          <p:cNvGrpSpPr/>
          <p:nvPr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23116334-B9FF-486F-853F-2FC0FEBBB345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0B09F16D-C13E-41E9-9D8E-F62185B5F9E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3137B7CE-1B7B-4BD9-84EC-35BB2F899117}"/>
              </a:ext>
            </a:extLst>
          </p:cNvPr>
          <p:cNvGrpSpPr/>
          <p:nvPr/>
        </p:nvGrpSpPr>
        <p:grpSpPr>
          <a:xfrm>
            <a:off x="837717" y="5981714"/>
            <a:ext cx="60076" cy="756405"/>
            <a:chOff x="875817" y="5981714"/>
            <a:chExt cx="60076" cy="756405"/>
          </a:xfrm>
        </p:grpSpPr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662A21AE-7533-4515-8E6B-0629BDE1E199}"/>
                </a:ext>
              </a:extLst>
            </p:cNvPr>
            <p:cNvCxnSpPr>
              <a:cxnSpLocks/>
            </p:cNvCxnSpPr>
            <p:nvPr/>
          </p:nvCxnSpPr>
          <p:spPr>
            <a:xfrm>
              <a:off x="875817" y="5981714"/>
              <a:ext cx="0" cy="70560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C2D2DC96-2606-46A7-BE47-231944BE7F88}"/>
                </a:ext>
              </a:extLst>
            </p:cNvPr>
            <p:cNvCxnSpPr>
              <a:cxnSpLocks/>
            </p:cNvCxnSpPr>
            <p:nvPr/>
          </p:nvCxnSpPr>
          <p:spPr>
            <a:xfrm>
              <a:off x="935893" y="6032519"/>
              <a:ext cx="0" cy="70560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95E8F4D0-8DD9-4778-8FAF-1A3AAD236EE6}"/>
              </a:ext>
            </a:extLst>
          </p:cNvPr>
          <p:cNvGrpSpPr/>
          <p:nvPr userDrawn="1"/>
        </p:nvGrpSpPr>
        <p:grpSpPr>
          <a:xfrm>
            <a:off x="173529" y="815854"/>
            <a:ext cx="11958041" cy="47645"/>
            <a:chOff x="118201" y="5981715"/>
            <a:chExt cx="11958041" cy="47645"/>
          </a:xfrm>
        </p:grpSpPr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F39390DE-7CDF-413A-BA63-9DBE991A03FE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8FE4379-972E-42EA-875D-205082A0626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FD885A2B-353E-4CC6-AE36-D7FBA6412355}"/>
              </a:ext>
            </a:extLst>
          </p:cNvPr>
          <p:cNvGrpSpPr/>
          <p:nvPr userDrawn="1"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542BAD79-77B5-4F17-9B1B-118759906CC7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D49B137E-A382-4784-8424-D97BEBD109F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64B58725-E025-476C-8EFF-8D44F3A77022}"/>
              </a:ext>
            </a:extLst>
          </p:cNvPr>
          <p:cNvGrpSpPr/>
          <p:nvPr userDrawn="1"/>
        </p:nvGrpSpPr>
        <p:grpSpPr>
          <a:xfrm>
            <a:off x="837717" y="5981714"/>
            <a:ext cx="60076" cy="756405"/>
            <a:chOff x="875817" y="5981714"/>
            <a:chExt cx="60076" cy="756405"/>
          </a:xfrm>
        </p:grpSpPr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1243A30B-762F-4D0C-8856-A9541783A9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5817" y="5981714"/>
              <a:ext cx="0" cy="70560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CB409D8-D56C-486C-ABAB-CCD3DECF183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5893" y="6032519"/>
              <a:ext cx="0" cy="70560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28331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6" r:id="rId2"/>
    <p:sldLayoutId id="2147483905" r:id="rId3"/>
    <p:sldLayoutId id="2147483907" r:id="rId4"/>
    <p:sldLayoutId id="2147483911" r:id="rId5"/>
    <p:sldLayoutId id="2147483908" r:id="rId6"/>
    <p:sldLayoutId id="2147483909" r:id="rId7"/>
    <p:sldLayoutId id="2147483910" r:id="rId8"/>
    <p:sldLayoutId id="2147483916" r:id="rId9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59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5900" algn="l"/>
        </a:tabLst>
        <a:defRPr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marL="431800" indent="-215900" algn="l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18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marL="6477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77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marL="8636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36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marL="863600" indent="-215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acuum Cleaner System – Top Level Decomposition</a:t>
            </a:r>
            <a:endParaRPr lang="en-US" dirty="0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9AD9389E-6E2F-48B1-9921-A389E838D662}"/>
              </a:ext>
            </a:extLst>
          </p:cNvPr>
          <p:cNvSpPr/>
          <p:nvPr/>
        </p:nvSpPr>
        <p:spPr>
          <a:xfrm>
            <a:off x="384000" y="1072192"/>
            <a:ext cx="11473038" cy="4761449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tangle: Single Corner Snipped 7">
            <a:extLst>
              <a:ext uri="{FF2B5EF4-FFF2-40B4-BE49-F238E27FC236}">
                <a16:creationId xmlns:a16="http://schemas.microsoft.com/office/drawing/2014/main" id="{6D218276-B446-4DED-8723-D3757D2656E6}"/>
              </a:ext>
            </a:extLst>
          </p:cNvPr>
          <p:cNvSpPr/>
          <p:nvPr/>
        </p:nvSpPr>
        <p:spPr>
          <a:xfrm flipV="1">
            <a:off x="383999" y="1072192"/>
            <a:ext cx="3802845" cy="338554"/>
          </a:xfrm>
          <a:prstGeom prst="snip1Rect">
            <a:avLst>
              <a:gd name="adj" fmla="val 46311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Box 1">
            <a:extLst>
              <a:ext uri="{FF2B5EF4-FFF2-40B4-BE49-F238E27FC236}">
                <a16:creationId xmlns:a16="http://schemas.microsoft.com/office/drawing/2014/main" id="{7C92DA1A-0991-4C8E-8E9F-FD9649B35CF9}"/>
              </a:ext>
            </a:extLst>
          </p:cNvPr>
          <p:cNvSpPr txBox="1"/>
          <p:nvPr/>
        </p:nvSpPr>
        <p:spPr>
          <a:xfrm>
            <a:off x="384000" y="1072192"/>
            <a:ext cx="34185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err="1" smtClean="0"/>
              <a:t>ibd</a:t>
            </a:r>
            <a:r>
              <a:rPr lang="de-DE" sz="1600" b="1" dirty="0" smtClean="0"/>
              <a:t> </a:t>
            </a:r>
            <a:r>
              <a:rPr lang="de-DE" sz="1600" dirty="0" smtClean="0"/>
              <a:t>[Block]</a:t>
            </a:r>
            <a:r>
              <a:rPr lang="de-DE" sz="1600" b="1" dirty="0" smtClean="0"/>
              <a:t> </a:t>
            </a:r>
            <a:r>
              <a:rPr lang="de-DE" sz="1600" dirty="0" err="1" smtClean="0"/>
              <a:t>VacuumCleanerSystem</a:t>
            </a:r>
            <a:endParaRPr lang="de-DE" sz="1600" b="1" dirty="0"/>
          </a:p>
        </p:txBody>
      </p:sp>
      <p:sp>
        <p:nvSpPr>
          <p:cNvPr id="13" name="Gleichschenkliges Dreieck 12"/>
          <p:cNvSpPr>
            <a:spLocks noChangeAspect="1"/>
          </p:cNvSpPr>
          <p:nvPr/>
        </p:nvSpPr>
        <p:spPr>
          <a:xfrm rot="5400000">
            <a:off x="1028101" y="3556577"/>
            <a:ext cx="216000" cy="108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0" name="Gewinkelter Verbinder 29"/>
          <p:cNvCxnSpPr>
            <a:stCxn id="93" idx="0"/>
            <a:endCxn id="99" idx="2"/>
          </p:cNvCxnSpPr>
          <p:nvPr/>
        </p:nvCxnSpPr>
        <p:spPr>
          <a:xfrm rot="5400000" flipH="1" flipV="1">
            <a:off x="3917153" y="711716"/>
            <a:ext cx="244078" cy="2526230"/>
          </a:xfrm>
          <a:prstGeom prst="bentConnector2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" name="Gruppieren 70"/>
          <p:cNvGrpSpPr/>
          <p:nvPr/>
        </p:nvGrpSpPr>
        <p:grpSpPr>
          <a:xfrm>
            <a:off x="239498" y="3512204"/>
            <a:ext cx="289002" cy="206373"/>
            <a:chOff x="-1267430" y="1633918"/>
            <a:chExt cx="355148" cy="264360"/>
          </a:xfrm>
        </p:grpSpPr>
        <p:sp>
          <p:nvSpPr>
            <p:cNvPr id="60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63" name="Gerader Verbinder 62"/>
            <p:cNvCxnSpPr>
              <a:stCxn id="60" idx="0"/>
              <a:endCxn id="60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/>
            <p:cNvCxnSpPr>
              <a:stCxn id="60" idx="3"/>
              <a:endCxn id="60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/>
            <p:cNvCxnSpPr>
              <a:stCxn id="60" idx="1"/>
              <a:endCxn id="60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Rechteck 72"/>
          <p:cNvSpPr/>
          <p:nvPr/>
        </p:nvSpPr>
        <p:spPr>
          <a:xfrm>
            <a:off x="9429098" y="1594414"/>
            <a:ext cx="2052977" cy="1188000"/>
          </a:xfrm>
          <a:prstGeom prst="rect">
            <a:avLst/>
          </a:prstGeom>
          <a:noFill/>
          <a:ln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</a:rPr>
              <a:t>hmi</a:t>
            </a:r>
            <a:r>
              <a:rPr lang="en-US" b="1" dirty="0" smtClean="0">
                <a:solidFill>
                  <a:schemeClr val="tx1"/>
                </a:solidFill>
              </a:rPr>
              <a:t> : </a:t>
            </a:r>
            <a:r>
              <a:rPr lang="en-US" b="1" dirty="0" err="1" smtClean="0">
                <a:solidFill>
                  <a:schemeClr val="tx1"/>
                </a:solidFill>
              </a:rPr>
              <a:t>HumanMachine</a:t>
            </a:r>
            <a:endParaRPr lang="en-US" b="1" dirty="0" smtClean="0">
              <a:solidFill>
                <a:schemeClr val="tx1"/>
              </a:solidFill>
            </a:endParaRPr>
          </a:p>
          <a:p>
            <a:pPr algn="ctr"/>
            <a:r>
              <a:rPr lang="en-US" b="1" dirty="0" smtClean="0">
                <a:solidFill>
                  <a:schemeClr val="tx1"/>
                </a:solidFill>
              </a:rPr>
              <a:t>Interface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9429098" y="3981281"/>
            <a:ext cx="2052977" cy="1188000"/>
          </a:xfrm>
          <a:prstGeom prst="rect">
            <a:avLst/>
          </a:prstGeom>
          <a:noFill/>
          <a:ln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p </a:t>
            </a:r>
            <a:r>
              <a:rPr lang="en-US" b="1" dirty="0" smtClean="0">
                <a:solidFill>
                  <a:schemeClr val="tx1"/>
                </a:solidFill>
              </a:rPr>
              <a:t>: Propulsion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1739430" y="2229005"/>
            <a:ext cx="2052977" cy="2940276"/>
          </a:xfrm>
          <a:prstGeom prst="rect">
            <a:avLst/>
          </a:prstGeom>
          <a:noFill/>
          <a:ln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b : Battery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5446807" y="1600315"/>
            <a:ext cx="2052977" cy="1188000"/>
          </a:xfrm>
          <a:prstGeom prst="rect">
            <a:avLst/>
          </a:prstGeom>
          <a:noFill/>
          <a:ln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c : Controller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5446807" y="3981281"/>
            <a:ext cx="2052977" cy="1620000"/>
          </a:xfrm>
          <a:prstGeom prst="rect">
            <a:avLst/>
          </a:prstGeom>
          <a:noFill/>
          <a:ln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v : </a:t>
            </a:r>
            <a:r>
              <a:rPr lang="en-US" b="1" dirty="0" err="1" smtClean="0">
                <a:solidFill>
                  <a:schemeClr val="tx1"/>
                </a:solidFill>
              </a:rPr>
              <a:t>VacuumSystem</a:t>
            </a:r>
            <a:endParaRPr lang="en-US" b="1" dirty="0">
              <a:solidFill>
                <a:schemeClr val="tx1"/>
              </a:solidFill>
            </a:endParaRPr>
          </a:p>
        </p:txBody>
      </p:sp>
      <p:grpSp>
        <p:nvGrpSpPr>
          <p:cNvPr id="78" name="Gruppieren 77"/>
          <p:cNvGrpSpPr/>
          <p:nvPr/>
        </p:nvGrpSpPr>
        <p:grpSpPr>
          <a:xfrm>
            <a:off x="1602144" y="3512204"/>
            <a:ext cx="289002" cy="206373"/>
            <a:chOff x="-1267430" y="1633918"/>
            <a:chExt cx="355148" cy="264360"/>
          </a:xfrm>
        </p:grpSpPr>
        <p:sp>
          <p:nvSpPr>
            <p:cNvPr id="79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80" name="Gerader Verbinder 79"/>
            <p:cNvCxnSpPr>
              <a:stCxn id="79" idx="0"/>
              <a:endCxn id="79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r Verbinder 80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r Verbinder 81"/>
            <p:cNvCxnSpPr>
              <a:stCxn id="79" idx="3"/>
              <a:endCxn id="79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r Verbinder 82"/>
            <p:cNvCxnSpPr>
              <a:stCxn id="79" idx="1"/>
              <a:endCxn id="79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5" name="Gerader Verbinder 84"/>
          <p:cNvCxnSpPr>
            <a:stCxn id="60" idx="2"/>
            <a:endCxn id="79" idx="0"/>
          </p:cNvCxnSpPr>
          <p:nvPr/>
        </p:nvCxnSpPr>
        <p:spPr>
          <a:xfrm>
            <a:off x="528500" y="3615390"/>
            <a:ext cx="107364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" name="Gruppieren 85"/>
          <p:cNvGrpSpPr/>
          <p:nvPr/>
        </p:nvGrpSpPr>
        <p:grpSpPr>
          <a:xfrm>
            <a:off x="5302306" y="2435709"/>
            <a:ext cx="289002" cy="206373"/>
            <a:chOff x="-1267430" y="1633918"/>
            <a:chExt cx="355148" cy="264360"/>
          </a:xfrm>
        </p:grpSpPr>
        <p:sp>
          <p:nvSpPr>
            <p:cNvPr id="87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88" name="Gerader Verbinder 87"/>
            <p:cNvCxnSpPr>
              <a:stCxn id="87" idx="0"/>
              <a:endCxn id="87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>
              <a:stCxn id="87" idx="3"/>
              <a:endCxn id="87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>
              <a:stCxn id="87" idx="1"/>
              <a:endCxn id="87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Gruppieren 91"/>
          <p:cNvGrpSpPr/>
          <p:nvPr/>
        </p:nvGrpSpPr>
        <p:grpSpPr>
          <a:xfrm rot="5400000">
            <a:off x="2631575" y="2138184"/>
            <a:ext cx="289002" cy="206373"/>
            <a:chOff x="-1267430" y="1633918"/>
            <a:chExt cx="355148" cy="264360"/>
          </a:xfrm>
        </p:grpSpPr>
        <p:sp>
          <p:nvSpPr>
            <p:cNvPr id="93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94" name="Gerader Verbinder 93"/>
            <p:cNvCxnSpPr>
              <a:stCxn id="93" idx="0"/>
              <a:endCxn id="93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r Verbinder 95"/>
            <p:cNvCxnSpPr>
              <a:stCxn id="93" idx="3"/>
              <a:endCxn id="93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r Verbinder 96"/>
            <p:cNvCxnSpPr>
              <a:stCxn id="93" idx="1"/>
              <a:endCxn id="93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8" name="Gruppieren 97"/>
          <p:cNvGrpSpPr/>
          <p:nvPr/>
        </p:nvGrpSpPr>
        <p:grpSpPr>
          <a:xfrm rot="10800000">
            <a:off x="5302306" y="1749605"/>
            <a:ext cx="289002" cy="206373"/>
            <a:chOff x="-1267430" y="1633918"/>
            <a:chExt cx="355148" cy="264360"/>
          </a:xfrm>
        </p:grpSpPr>
        <p:sp>
          <p:nvSpPr>
            <p:cNvPr id="99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00" name="Gerader Verbinder 99"/>
            <p:cNvCxnSpPr>
              <a:stCxn id="99" idx="0"/>
              <a:endCxn id="99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r Verbinder 100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/>
            <p:cNvCxnSpPr>
              <a:stCxn id="99" idx="3"/>
              <a:endCxn id="99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r Verbinder 102"/>
            <p:cNvCxnSpPr>
              <a:stCxn id="99" idx="1"/>
              <a:endCxn id="99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6" name="Gleichschenkliges Dreieck 105"/>
          <p:cNvSpPr>
            <a:spLocks noChangeAspect="1"/>
          </p:cNvSpPr>
          <p:nvPr/>
        </p:nvSpPr>
        <p:spPr>
          <a:xfrm rot="16200000">
            <a:off x="3080693" y="1798792"/>
            <a:ext cx="216000" cy="108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7" name="Gruppieren 106"/>
          <p:cNvGrpSpPr/>
          <p:nvPr/>
        </p:nvGrpSpPr>
        <p:grpSpPr>
          <a:xfrm>
            <a:off x="9284597" y="4657290"/>
            <a:ext cx="289002" cy="206373"/>
            <a:chOff x="-1267430" y="1633918"/>
            <a:chExt cx="355148" cy="264360"/>
          </a:xfrm>
        </p:grpSpPr>
        <p:sp>
          <p:nvSpPr>
            <p:cNvPr id="108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09" name="Gerader Verbinder 108"/>
            <p:cNvCxnSpPr>
              <a:stCxn id="108" idx="0"/>
              <a:endCxn id="108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r Verbinder 109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r Verbinder 110"/>
            <p:cNvCxnSpPr>
              <a:stCxn id="108" idx="3"/>
              <a:endCxn id="108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r Verbinder 111"/>
            <p:cNvCxnSpPr>
              <a:stCxn id="108" idx="1"/>
              <a:endCxn id="108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3" name="Gruppieren 112"/>
          <p:cNvGrpSpPr/>
          <p:nvPr/>
        </p:nvGrpSpPr>
        <p:grpSpPr>
          <a:xfrm>
            <a:off x="5302305" y="4659104"/>
            <a:ext cx="289002" cy="206373"/>
            <a:chOff x="-1267430" y="1633918"/>
            <a:chExt cx="355148" cy="264360"/>
          </a:xfrm>
        </p:grpSpPr>
        <p:sp>
          <p:nvSpPr>
            <p:cNvPr id="114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15" name="Gerader Verbinder 114"/>
            <p:cNvCxnSpPr>
              <a:stCxn id="114" idx="0"/>
              <a:endCxn id="114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r Verbinder 115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r Verbinder 116"/>
            <p:cNvCxnSpPr>
              <a:stCxn id="114" idx="3"/>
              <a:endCxn id="114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17"/>
            <p:cNvCxnSpPr>
              <a:stCxn id="114" idx="1"/>
              <a:endCxn id="114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9" name="Gruppieren 118"/>
          <p:cNvGrpSpPr/>
          <p:nvPr/>
        </p:nvGrpSpPr>
        <p:grpSpPr>
          <a:xfrm>
            <a:off x="5302305" y="5292674"/>
            <a:ext cx="289002" cy="206373"/>
            <a:chOff x="-1267430" y="1633918"/>
            <a:chExt cx="355148" cy="264360"/>
          </a:xfrm>
        </p:grpSpPr>
        <p:sp>
          <p:nvSpPr>
            <p:cNvPr id="120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21" name="Gerader Verbinder 120"/>
            <p:cNvCxnSpPr>
              <a:stCxn id="120" idx="0"/>
              <a:endCxn id="120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r Verbinder 121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r Verbinder 122"/>
            <p:cNvCxnSpPr>
              <a:stCxn id="120" idx="3"/>
              <a:endCxn id="120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r Verbinder 123"/>
            <p:cNvCxnSpPr>
              <a:stCxn id="120" idx="1"/>
              <a:endCxn id="120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5" name="Gruppieren 124"/>
          <p:cNvGrpSpPr/>
          <p:nvPr/>
        </p:nvGrpSpPr>
        <p:grpSpPr>
          <a:xfrm>
            <a:off x="5302305" y="4135799"/>
            <a:ext cx="289002" cy="206373"/>
            <a:chOff x="-1267430" y="1633918"/>
            <a:chExt cx="355148" cy="264360"/>
          </a:xfrm>
        </p:grpSpPr>
        <p:sp>
          <p:nvSpPr>
            <p:cNvPr id="126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27" name="Gerader Verbinder 126"/>
            <p:cNvCxnSpPr>
              <a:stCxn id="126" idx="0"/>
              <a:endCxn id="126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r Verbinder 127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Gerader Verbinder 128"/>
            <p:cNvCxnSpPr>
              <a:stCxn id="126" idx="3"/>
              <a:endCxn id="126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rader Verbinder 129"/>
            <p:cNvCxnSpPr>
              <a:stCxn id="126" idx="1"/>
              <a:endCxn id="126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1" name="Gruppieren 130"/>
          <p:cNvGrpSpPr/>
          <p:nvPr/>
        </p:nvGrpSpPr>
        <p:grpSpPr>
          <a:xfrm rot="16200000">
            <a:off x="6201471" y="3864959"/>
            <a:ext cx="289002" cy="206373"/>
            <a:chOff x="-1267430" y="1633918"/>
            <a:chExt cx="355148" cy="264360"/>
          </a:xfrm>
        </p:grpSpPr>
        <p:sp>
          <p:nvSpPr>
            <p:cNvPr id="132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33" name="Gerader Verbinder 132"/>
            <p:cNvCxnSpPr>
              <a:stCxn id="132" idx="0"/>
              <a:endCxn id="132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r Verbinder 133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Gerader Verbinder 134"/>
            <p:cNvCxnSpPr>
              <a:stCxn id="132" idx="3"/>
              <a:endCxn id="132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Gerader Verbinder 135"/>
            <p:cNvCxnSpPr>
              <a:stCxn id="132" idx="1"/>
              <a:endCxn id="132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Gruppieren 136"/>
          <p:cNvGrpSpPr/>
          <p:nvPr/>
        </p:nvGrpSpPr>
        <p:grpSpPr>
          <a:xfrm rot="16200000">
            <a:off x="6201471" y="2698263"/>
            <a:ext cx="289002" cy="206373"/>
            <a:chOff x="-1267430" y="1633918"/>
            <a:chExt cx="355148" cy="264360"/>
          </a:xfrm>
        </p:grpSpPr>
        <p:sp>
          <p:nvSpPr>
            <p:cNvPr id="138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39" name="Gerader Verbinder 138"/>
            <p:cNvCxnSpPr>
              <a:stCxn id="138" idx="0"/>
              <a:endCxn id="138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r Verbinder 139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r Verbinder 140"/>
            <p:cNvCxnSpPr>
              <a:stCxn id="138" idx="3"/>
              <a:endCxn id="138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Gerader Verbinder 141"/>
            <p:cNvCxnSpPr>
              <a:stCxn id="138" idx="1"/>
              <a:endCxn id="138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9" name="Gruppieren 148"/>
          <p:cNvGrpSpPr/>
          <p:nvPr/>
        </p:nvGrpSpPr>
        <p:grpSpPr>
          <a:xfrm>
            <a:off x="7364843" y="2430959"/>
            <a:ext cx="289002" cy="206373"/>
            <a:chOff x="-1267430" y="1633918"/>
            <a:chExt cx="355148" cy="264360"/>
          </a:xfrm>
        </p:grpSpPr>
        <p:sp>
          <p:nvSpPr>
            <p:cNvPr id="150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51" name="Gerader Verbinder 150"/>
            <p:cNvCxnSpPr>
              <a:stCxn id="150" idx="0"/>
              <a:endCxn id="150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Gerader Verbinder 151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Gerader Verbinder 152"/>
            <p:cNvCxnSpPr>
              <a:stCxn id="150" idx="3"/>
              <a:endCxn id="150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Gerader Verbinder 153"/>
            <p:cNvCxnSpPr>
              <a:stCxn id="150" idx="1"/>
              <a:endCxn id="150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5" name="Gruppieren 154"/>
          <p:cNvGrpSpPr/>
          <p:nvPr/>
        </p:nvGrpSpPr>
        <p:grpSpPr>
          <a:xfrm rot="10800000">
            <a:off x="7364843" y="1744855"/>
            <a:ext cx="289002" cy="206373"/>
            <a:chOff x="-1267430" y="1633918"/>
            <a:chExt cx="355148" cy="264360"/>
          </a:xfrm>
        </p:grpSpPr>
        <p:sp>
          <p:nvSpPr>
            <p:cNvPr id="156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57" name="Gerader Verbinder 156"/>
            <p:cNvCxnSpPr>
              <a:stCxn id="156" idx="0"/>
              <a:endCxn id="156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Gerader Verbinder 157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Gerader Verbinder 158"/>
            <p:cNvCxnSpPr>
              <a:stCxn id="156" idx="3"/>
              <a:endCxn id="156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Gerader Verbinder 159"/>
            <p:cNvCxnSpPr>
              <a:stCxn id="156" idx="1"/>
              <a:endCxn id="156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1" name="Gruppieren 160"/>
          <p:cNvGrpSpPr/>
          <p:nvPr/>
        </p:nvGrpSpPr>
        <p:grpSpPr>
          <a:xfrm>
            <a:off x="9284872" y="2430958"/>
            <a:ext cx="289002" cy="206373"/>
            <a:chOff x="-1267430" y="1633918"/>
            <a:chExt cx="355148" cy="264360"/>
          </a:xfrm>
        </p:grpSpPr>
        <p:sp>
          <p:nvSpPr>
            <p:cNvPr id="162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63" name="Gerader Verbinder 162"/>
            <p:cNvCxnSpPr>
              <a:stCxn id="162" idx="0"/>
              <a:endCxn id="162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Gerader Verbinder 163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Gerader Verbinder 164"/>
            <p:cNvCxnSpPr>
              <a:stCxn id="162" idx="3"/>
              <a:endCxn id="162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Gerader Verbinder 165"/>
            <p:cNvCxnSpPr>
              <a:stCxn id="162" idx="1"/>
              <a:endCxn id="162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7" name="Gruppieren 166"/>
          <p:cNvGrpSpPr/>
          <p:nvPr/>
        </p:nvGrpSpPr>
        <p:grpSpPr>
          <a:xfrm rot="10800000">
            <a:off x="9284872" y="1744854"/>
            <a:ext cx="289002" cy="206373"/>
            <a:chOff x="-1267430" y="1633918"/>
            <a:chExt cx="355148" cy="264360"/>
          </a:xfrm>
        </p:grpSpPr>
        <p:sp>
          <p:nvSpPr>
            <p:cNvPr id="168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69" name="Gerader Verbinder 168"/>
            <p:cNvCxnSpPr>
              <a:stCxn id="168" idx="0"/>
              <a:endCxn id="168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Gerader Verbinder 169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Gerader Verbinder 170"/>
            <p:cNvCxnSpPr>
              <a:stCxn id="168" idx="3"/>
              <a:endCxn id="168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Gerader Verbinder 171"/>
            <p:cNvCxnSpPr>
              <a:stCxn id="168" idx="1"/>
              <a:endCxn id="168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3" name="Gruppieren 172"/>
          <p:cNvGrpSpPr/>
          <p:nvPr/>
        </p:nvGrpSpPr>
        <p:grpSpPr>
          <a:xfrm>
            <a:off x="7364810" y="5287349"/>
            <a:ext cx="289002" cy="206373"/>
            <a:chOff x="-1267430" y="1633918"/>
            <a:chExt cx="355148" cy="264360"/>
          </a:xfrm>
        </p:grpSpPr>
        <p:sp>
          <p:nvSpPr>
            <p:cNvPr id="174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75" name="Gerader Verbinder 174"/>
            <p:cNvCxnSpPr>
              <a:stCxn id="174" idx="0"/>
              <a:endCxn id="174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Gerader Verbinder 175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Gerader Verbinder 176"/>
            <p:cNvCxnSpPr>
              <a:stCxn id="174" idx="3"/>
              <a:endCxn id="174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/>
            <p:cNvCxnSpPr>
              <a:stCxn id="174" idx="1"/>
              <a:endCxn id="174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9" name="Gruppieren 178"/>
          <p:cNvGrpSpPr/>
          <p:nvPr/>
        </p:nvGrpSpPr>
        <p:grpSpPr>
          <a:xfrm>
            <a:off x="219653" y="5287349"/>
            <a:ext cx="289002" cy="206373"/>
            <a:chOff x="-1267430" y="1633918"/>
            <a:chExt cx="355148" cy="264360"/>
          </a:xfrm>
        </p:grpSpPr>
        <p:sp>
          <p:nvSpPr>
            <p:cNvPr id="180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81" name="Gerader Verbinder 180"/>
            <p:cNvCxnSpPr>
              <a:stCxn id="180" idx="0"/>
              <a:endCxn id="180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Gerader Verbinder 181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Gerader Verbinder 182"/>
            <p:cNvCxnSpPr>
              <a:stCxn id="180" idx="3"/>
              <a:endCxn id="180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Gerader Verbinder 183"/>
            <p:cNvCxnSpPr>
              <a:stCxn id="180" idx="1"/>
              <a:endCxn id="180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7" name="Gruppieren 186"/>
          <p:cNvGrpSpPr/>
          <p:nvPr/>
        </p:nvGrpSpPr>
        <p:grpSpPr>
          <a:xfrm rot="16200000">
            <a:off x="10322133" y="2698262"/>
            <a:ext cx="289002" cy="206373"/>
            <a:chOff x="-1267430" y="1633918"/>
            <a:chExt cx="355148" cy="264360"/>
          </a:xfrm>
        </p:grpSpPr>
        <p:sp>
          <p:nvSpPr>
            <p:cNvPr id="188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89" name="Gerader Verbinder 188"/>
            <p:cNvCxnSpPr>
              <a:stCxn id="188" idx="0"/>
              <a:endCxn id="188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Gerader Verbinder 189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Gerader Verbinder 190"/>
            <p:cNvCxnSpPr>
              <a:stCxn id="188" idx="3"/>
              <a:endCxn id="188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Gerader Verbinder 191"/>
            <p:cNvCxnSpPr>
              <a:stCxn id="188" idx="1"/>
              <a:endCxn id="188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4" name="Gerader Verbinder 193"/>
          <p:cNvCxnSpPr>
            <a:stCxn id="156" idx="0"/>
            <a:endCxn id="168" idx="2"/>
          </p:cNvCxnSpPr>
          <p:nvPr/>
        </p:nvCxnSpPr>
        <p:spPr>
          <a:xfrm flipV="1">
            <a:off x="7653845" y="1848041"/>
            <a:ext cx="1631028" cy="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Gerader Verbinder 196"/>
          <p:cNvCxnSpPr>
            <a:stCxn id="150" idx="2"/>
            <a:endCxn id="162" idx="0"/>
          </p:cNvCxnSpPr>
          <p:nvPr/>
        </p:nvCxnSpPr>
        <p:spPr>
          <a:xfrm flipV="1">
            <a:off x="7653845" y="2534144"/>
            <a:ext cx="1631028" cy="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Gerader Verbinder 199"/>
          <p:cNvCxnSpPr/>
          <p:nvPr/>
        </p:nvCxnSpPr>
        <p:spPr>
          <a:xfrm>
            <a:off x="508654" y="5398840"/>
            <a:ext cx="479365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r Verbinder 202"/>
          <p:cNvCxnSpPr>
            <a:stCxn id="138" idx="0"/>
            <a:endCxn id="132" idx="2"/>
          </p:cNvCxnSpPr>
          <p:nvPr/>
        </p:nvCxnSpPr>
        <p:spPr>
          <a:xfrm>
            <a:off x="6345971" y="2945950"/>
            <a:ext cx="0" cy="87769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6" name="Gruppieren 205"/>
          <p:cNvGrpSpPr/>
          <p:nvPr/>
        </p:nvGrpSpPr>
        <p:grpSpPr>
          <a:xfrm>
            <a:off x="11704864" y="5287349"/>
            <a:ext cx="289002" cy="206373"/>
            <a:chOff x="-1267430" y="1633918"/>
            <a:chExt cx="355148" cy="264360"/>
          </a:xfrm>
        </p:grpSpPr>
        <p:sp>
          <p:nvSpPr>
            <p:cNvPr id="207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08" name="Gerader Verbinder 207"/>
            <p:cNvCxnSpPr>
              <a:stCxn id="207" idx="0"/>
              <a:endCxn id="207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Gerader Verbinder 208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Gerader Verbinder 209"/>
            <p:cNvCxnSpPr>
              <a:stCxn id="207" idx="3"/>
              <a:endCxn id="207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Gerader Verbinder 210"/>
            <p:cNvCxnSpPr>
              <a:stCxn id="207" idx="1"/>
              <a:endCxn id="207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12" name="Gerader Verbinder 211"/>
          <p:cNvCxnSpPr>
            <a:stCxn id="174" idx="2"/>
            <a:endCxn id="207" idx="0"/>
          </p:cNvCxnSpPr>
          <p:nvPr/>
        </p:nvCxnSpPr>
        <p:spPr>
          <a:xfrm>
            <a:off x="7653812" y="5390535"/>
            <a:ext cx="405105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/>
          <p:cNvSpPr/>
          <p:nvPr/>
        </p:nvSpPr>
        <p:spPr>
          <a:xfrm flipH="1">
            <a:off x="3661990" y="2328421"/>
            <a:ext cx="294762" cy="261246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  <p:grpSp>
        <p:nvGrpSpPr>
          <p:cNvPr id="216" name="Gruppieren 215"/>
          <p:cNvGrpSpPr/>
          <p:nvPr/>
        </p:nvGrpSpPr>
        <p:grpSpPr>
          <a:xfrm>
            <a:off x="3763557" y="4658157"/>
            <a:ext cx="289002" cy="206373"/>
            <a:chOff x="-1267430" y="1633918"/>
            <a:chExt cx="355148" cy="264360"/>
          </a:xfrm>
        </p:grpSpPr>
        <p:sp>
          <p:nvSpPr>
            <p:cNvPr id="217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18" name="Gerader Verbinder 217"/>
            <p:cNvCxnSpPr>
              <a:stCxn id="217" idx="0"/>
              <a:endCxn id="217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Gerader Verbinder 218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Gerader Verbinder 219"/>
            <p:cNvCxnSpPr>
              <a:stCxn id="217" idx="3"/>
              <a:endCxn id="217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Gerader Verbinder 220"/>
            <p:cNvCxnSpPr>
              <a:stCxn id="217" idx="1"/>
              <a:endCxn id="217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2" name="Gruppieren 221"/>
          <p:cNvGrpSpPr/>
          <p:nvPr/>
        </p:nvGrpSpPr>
        <p:grpSpPr>
          <a:xfrm>
            <a:off x="3763557" y="4134852"/>
            <a:ext cx="289002" cy="206373"/>
            <a:chOff x="-1267430" y="1633918"/>
            <a:chExt cx="355148" cy="264360"/>
          </a:xfrm>
        </p:grpSpPr>
        <p:sp>
          <p:nvSpPr>
            <p:cNvPr id="223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24" name="Gerader Verbinder 223"/>
            <p:cNvCxnSpPr>
              <a:stCxn id="223" idx="0"/>
              <a:endCxn id="223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Gerader Verbinder 224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Gerader Verbinder 225"/>
            <p:cNvCxnSpPr>
              <a:stCxn id="223" idx="3"/>
              <a:endCxn id="223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Gerader Verbinder 226"/>
            <p:cNvCxnSpPr>
              <a:stCxn id="223" idx="1"/>
              <a:endCxn id="223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8" name="Gruppieren 227"/>
          <p:cNvGrpSpPr/>
          <p:nvPr/>
        </p:nvGrpSpPr>
        <p:grpSpPr>
          <a:xfrm>
            <a:off x="3765178" y="2990454"/>
            <a:ext cx="289002" cy="206373"/>
            <a:chOff x="-1267430" y="1633918"/>
            <a:chExt cx="355148" cy="264360"/>
          </a:xfrm>
        </p:grpSpPr>
        <p:sp>
          <p:nvSpPr>
            <p:cNvPr id="229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30" name="Gerader Verbinder 229"/>
            <p:cNvCxnSpPr>
              <a:stCxn id="229" idx="0"/>
              <a:endCxn id="229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Gerader Verbinder 230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Gerader Verbinder 231"/>
            <p:cNvCxnSpPr>
              <a:stCxn id="229" idx="3"/>
              <a:endCxn id="229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Gerader Verbinder 232"/>
            <p:cNvCxnSpPr>
              <a:stCxn id="229" idx="1"/>
              <a:endCxn id="229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4" name="Gruppieren 233"/>
          <p:cNvGrpSpPr/>
          <p:nvPr/>
        </p:nvGrpSpPr>
        <p:grpSpPr>
          <a:xfrm>
            <a:off x="3765178" y="3554574"/>
            <a:ext cx="289002" cy="206373"/>
            <a:chOff x="-1267430" y="1633918"/>
            <a:chExt cx="355148" cy="264360"/>
          </a:xfrm>
        </p:grpSpPr>
        <p:sp>
          <p:nvSpPr>
            <p:cNvPr id="235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36" name="Gerader Verbinder 235"/>
            <p:cNvCxnSpPr>
              <a:stCxn id="235" idx="0"/>
              <a:endCxn id="235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Gerader Verbinder 236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Gerader Verbinder 237"/>
            <p:cNvCxnSpPr>
              <a:stCxn id="235" idx="3"/>
              <a:endCxn id="235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Gerader Verbinder 238"/>
            <p:cNvCxnSpPr>
              <a:stCxn id="235" idx="1"/>
              <a:endCxn id="235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0" name="Gruppieren 239"/>
          <p:cNvGrpSpPr/>
          <p:nvPr/>
        </p:nvGrpSpPr>
        <p:grpSpPr>
          <a:xfrm>
            <a:off x="3765178" y="2432424"/>
            <a:ext cx="289002" cy="206373"/>
            <a:chOff x="-1267430" y="1633918"/>
            <a:chExt cx="355148" cy="264360"/>
          </a:xfrm>
        </p:grpSpPr>
        <p:sp>
          <p:nvSpPr>
            <p:cNvPr id="241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42" name="Gerader Verbinder 241"/>
            <p:cNvCxnSpPr>
              <a:stCxn id="241" idx="0"/>
              <a:endCxn id="241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Gerader Verbinder 242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Gerader Verbinder 243"/>
            <p:cNvCxnSpPr>
              <a:stCxn id="241" idx="3"/>
              <a:endCxn id="241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Gerader Verbinder 244"/>
            <p:cNvCxnSpPr>
              <a:stCxn id="241" idx="1"/>
              <a:endCxn id="241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7" name="Gleichschenkliges Dreieck 246"/>
          <p:cNvSpPr>
            <a:spLocks noChangeAspect="1"/>
          </p:cNvSpPr>
          <p:nvPr/>
        </p:nvSpPr>
        <p:spPr>
          <a:xfrm rot="5400000">
            <a:off x="3060779" y="5340015"/>
            <a:ext cx="216000" cy="108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8" name="Gleichschenkliges Dreieck 247"/>
          <p:cNvSpPr>
            <a:spLocks noChangeAspect="1"/>
          </p:cNvSpPr>
          <p:nvPr/>
        </p:nvSpPr>
        <p:spPr>
          <a:xfrm rot="5400000">
            <a:off x="9404212" y="5330581"/>
            <a:ext cx="216000" cy="108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9" name="Gleichschenkliges Dreieck 248"/>
          <p:cNvSpPr>
            <a:spLocks noChangeAspect="1"/>
          </p:cNvSpPr>
          <p:nvPr/>
        </p:nvSpPr>
        <p:spPr>
          <a:xfrm rot="5400000">
            <a:off x="8432041" y="2494947"/>
            <a:ext cx="216000" cy="108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0" name="Gleichschenkliges Dreieck 249"/>
          <p:cNvSpPr>
            <a:spLocks noChangeAspect="1"/>
          </p:cNvSpPr>
          <p:nvPr/>
        </p:nvSpPr>
        <p:spPr>
          <a:xfrm rot="16200000">
            <a:off x="8430827" y="1808575"/>
            <a:ext cx="216000" cy="108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1" name="Gerader Verbinder 250"/>
          <p:cNvCxnSpPr>
            <a:stCxn id="241" idx="2"/>
            <a:endCxn id="87" idx="0"/>
          </p:cNvCxnSpPr>
          <p:nvPr/>
        </p:nvCxnSpPr>
        <p:spPr>
          <a:xfrm>
            <a:off x="4054179" y="2535610"/>
            <a:ext cx="124812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Gewinkelter Verbinder 253"/>
          <p:cNvCxnSpPr>
            <a:stCxn id="229" idx="2"/>
            <a:endCxn id="188" idx="0"/>
          </p:cNvCxnSpPr>
          <p:nvPr/>
        </p:nvCxnSpPr>
        <p:spPr>
          <a:xfrm flipV="1">
            <a:off x="4054179" y="2945949"/>
            <a:ext cx="6412454" cy="147691"/>
          </a:xfrm>
          <a:prstGeom prst="bentConnector2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Gewinkelter Verbinder 256"/>
          <p:cNvCxnSpPr>
            <a:stCxn id="235" idx="2"/>
            <a:endCxn id="108" idx="0"/>
          </p:cNvCxnSpPr>
          <p:nvPr/>
        </p:nvCxnSpPr>
        <p:spPr>
          <a:xfrm>
            <a:off x="4054179" y="3657760"/>
            <a:ext cx="5230419" cy="1102716"/>
          </a:xfrm>
          <a:prstGeom prst="bentConnector3">
            <a:avLst>
              <a:gd name="adj1" fmla="val 739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Gerader Verbinder 260"/>
          <p:cNvCxnSpPr>
            <a:stCxn id="223" idx="2"/>
            <a:endCxn id="126" idx="0"/>
          </p:cNvCxnSpPr>
          <p:nvPr/>
        </p:nvCxnSpPr>
        <p:spPr>
          <a:xfrm>
            <a:off x="4052558" y="4238038"/>
            <a:ext cx="1249748" cy="9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Gerader Verbinder 263"/>
          <p:cNvCxnSpPr>
            <a:stCxn id="217" idx="2"/>
            <a:endCxn id="114" idx="0"/>
          </p:cNvCxnSpPr>
          <p:nvPr/>
        </p:nvCxnSpPr>
        <p:spPr>
          <a:xfrm>
            <a:off x="4052558" y="4761343"/>
            <a:ext cx="1249748" cy="9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Gleichschenkliges Dreieck 266"/>
          <p:cNvSpPr>
            <a:spLocks noChangeAspect="1"/>
          </p:cNvSpPr>
          <p:nvPr/>
        </p:nvSpPr>
        <p:spPr>
          <a:xfrm rot="5400000">
            <a:off x="4623432" y="2484958"/>
            <a:ext cx="216000" cy="108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8" name="Gleichschenkliges Dreieck 267"/>
          <p:cNvSpPr>
            <a:spLocks noChangeAspect="1"/>
          </p:cNvSpPr>
          <p:nvPr/>
        </p:nvSpPr>
        <p:spPr>
          <a:xfrm rot="5400000">
            <a:off x="4623432" y="3610522"/>
            <a:ext cx="216000" cy="108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9" name="Gleichschenkliges Dreieck 268"/>
          <p:cNvSpPr>
            <a:spLocks noChangeAspect="1"/>
          </p:cNvSpPr>
          <p:nvPr/>
        </p:nvSpPr>
        <p:spPr>
          <a:xfrm rot="5400000">
            <a:off x="4623432" y="4188852"/>
            <a:ext cx="216000" cy="108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0" name="Gleichschenkliges Dreieck 269"/>
          <p:cNvSpPr>
            <a:spLocks noChangeAspect="1"/>
          </p:cNvSpPr>
          <p:nvPr/>
        </p:nvSpPr>
        <p:spPr>
          <a:xfrm rot="5400000">
            <a:off x="4623432" y="4719258"/>
            <a:ext cx="216000" cy="108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1" name="Gleichschenkliges Dreieck 270"/>
          <p:cNvSpPr>
            <a:spLocks noChangeAspect="1"/>
          </p:cNvSpPr>
          <p:nvPr/>
        </p:nvSpPr>
        <p:spPr>
          <a:xfrm rot="5400000">
            <a:off x="8434016" y="3053835"/>
            <a:ext cx="216000" cy="108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2" name="Textfeld 271"/>
          <p:cNvSpPr txBox="1"/>
          <p:nvPr/>
        </p:nvSpPr>
        <p:spPr>
          <a:xfrm>
            <a:off x="2921346" y="5472000"/>
            <a:ext cx="4042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Air</a:t>
            </a:r>
            <a:endParaRPr lang="en-US" sz="1400" dirty="0"/>
          </a:p>
        </p:txBody>
      </p:sp>
      <p:sp>
        <p:nvSpPr>
          <p:cNvPr id="273" name="Textfeld 272"/>
          <p:cNvSpPr txBox="1"/>
          <p:nvPr/>
        </p:nvSpPr>
        <p:spPr>
          <a:xfrm>
            <a:off x="9268643" y="5472000"/>
            <a:ext cx="4042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Air</a:t>
            </a:r>
            <a:endParaRPr lang="en-US" sz="1400" dirty="0"/>
          </a:p>
        </p:txBody>
      </p:sp>
      <p:sp>
        <p:nvSpPr>
          <p:cNvPr id="275" name="Textfeld 274"/>
          <p:cNvSpPr txBox="1"/>
          <p:nvPr/>
        </p:nvSpPr>
        <p:spPr>
          <a:xfrm>
            <a:off x="4750233" y="5472000"/>
            <a:ext cx="7425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 smtClean="0"/>
              <a:t>dirtyAir</a:t>
            </a:r>
            <a:endParaRPr lang="en-US" sz="1400" dirty="0"/>
          </a:p>
        </p:txBody>
      </p:sp>
      <p:sp>
        <p:nvSpPr>
          <p:cNvPr id="276" name="Textfeld 275"/>
          <p:cNvSpPr txBox="1"/>
          <p:nvPr/>
        </p:nvSpPr>
        <p:spPr>
          <a:xfrm>
            <a:off x="7436245" y="5472000"/>
            <a:ext cx="8322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 smtClean="0"/>
              <a:t>cleanAir</a:t>
            </a:r>
            <a:endParaRPr lang="en-US" sz="1400" dirty="0"/>
          </a:p>
        </p:txBody>
      </p:sp>
      <p:sp>
        <p:nvSpPr>
          <p:cNvPr id="277" name="Textfeld 276"/>
          <p:cNvSpPr txBox="1"/>
          <p:nvPr/>
        </p:nvSpPr>
        <p:spPr>
          <a:xfrm>
            <a:off x="11078300" y="5472000"/>
            <a:ext cx="8322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 smtClean="0"/>
              <a:t>cleanAir</a:t>
            </a:r>
            <a:endParaRPr lang="en-US" sz="1400" dirty="0"/>
          </a:p>
        </p:txBody>
      </p:sp>
      <p:sp>
        <p:nvSpPr>
          <p:cNvPr id="278" name="Textfeld 277"/>
          <p:cNvSpPr txBox="1"/>
          <p:nvPr/>
        </p:nvSpPr>
        <p:spPr>
          <a:xfrm>
            <a:off x="315560" y="5472000"/>
            <a:ext cx="7425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 smtClean="0"/>
              <a:t>dirtyAir</a:t>
            </a:r>
            <a:endParaRPr lang="en-US" sz="1400" dirty="0"/>
          </a:p>
        </p:txBody>
      </p:sp>
      <p:sp>
        <p:nvSpPr>
          <p:cNvPr id="279" name="Textfeld 278"/>
          <p:cNvSpPr txBox="1"/>
          <p:nvPr/>
        </p:nvSpPr>
        <p:spPr>
          <a:xfrm>
            <a:off x="1150650" y="3194799"/>
            <a:ext cx="6623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 smtClean="0"/>
              <a:t>powIn</a:t>
            </a:r>
            <a:endParaRPr lang="en-US" sz="1400" dirty="0"/>
          </a:p>
        </p:txBody>
      </p:sp>
      <p:sp>
        <p:nvSpPr>
          <p:cNvPr id="280" name="Textfeld 279"/>
          <p:cNvSpPr txBox="1"/>
          <p:nvPr/>
        </p:nvSpPr>
        <p:spPr>
          <a:xfrm>
            <a:off x="734986" y="3660368"/>
            <a:ext cx="6928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Power</a:t>
            </a:r>
            <a:endParaRPr lang="en-US" sz="1400" dirty="0"/>
          </a:p>
        </p:txBody>
      </p:sp>
      <p:sp>
        <p:nvSpPr>
          <p:cNvPr id="281" name="Textfeld 280"/>
          <p:cNvSpPr txBox="1"/>
          <p:nvPr/>
        </p:nvSpPr>
        <p:spPr>
          <a:xfrm>
            <a:off x="329877" y="3196433"/>
            <a:ext cx="6623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 smtClean="0"/>
              <a:t>powIn</a:t>
            </a:r>
            <a:endParaRPr lang="en-US" sz="1400" dirty="0"/>
          </a:p>
        </p:txBody>
      </p:sp>
      <p:sp>
        <p:nvSpPr>
          <p:cNvPr id="282" name="Textfeld 281"/>
          <p:cNvSpPr txBox="1"/>
          <p:nvPr/>
        </p:nvSpPr>
        <p:spPr>
          <a:xfrm>
            <a:off x="2581336" y="1474612"/>
            <a:ext cx="11913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 smtClean="0"/>
              <a:t>PowerSignal</a:t>
            </a:r>
            <a:endParaRPr lang="en-US" sz="1400" dirty="0"/>
          </a:p>
        </p:txBody>
      </p:sp>
      <p:sp>
        <p:nvSpPr>
          <p:cNvPr id="283" name="Textfeld 282"/>
          <p:cNvSpPr txBox="1"/>
          <p:nvPr/>
        </p:nvSpPr>
        <p:spPr>
          <a:xfrm>
            <a:off x="3809371" y="1476000"/>
            <a:ext cx="1726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powerConsumption</a:t>
            </a:r>
            <a:endParaRPr lang="en-US" sz="1400" dirty="0"/>
          </a:p>
        </p:txBody>
      </p:sp>
      <p:sp>
        <p:nvSpPr>
          <p:cNvPr id="284" name="Textfeld 283"/>
          <p:cNvSpPr txBox="1"/>
          <p:nvPr/>
        </p:nvSpPr>
        <p:spPr>
          <a:xfrm>
            <a:off x="4380519" y="2574063"/>
            <a:ext cx="6928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Power</a:t>
            </a:r>
            <a:endParaRPr lang="en-US" sz="1400" dirty="0"/>
          </a:p>
        </p:txBody>
      </p:sp>
      <p:sp>
        <p:nvSpPr>
          <p:cNvPr id="285" name="Textfeld 284"/>
          <p:cNvSpPr txBox="1"/>
          <p:nvPr/>
        </p:nvSpPr>
        <p:spPr>
          <a:xfrm>
            <a:off x="4381200" y="3674155"/>
            <a:ext cx="6928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Power</a:t>
            </a:r>
            <a:endParaRPr lang="en-US" sz="1400" dirty="0"/>
          </a:p>
        </p:txBody>
      </p:sp>
      <p:sp>
        <p:nvSpPr>
          <p:cNvPr id="286" name="Textfeld 285"/>
          <p:cNvSpPr txBox="1"/>
          <p:nvPr/>
        </p:nvSpPr>
        <p:spPr>
          <a:xfrm>
            <a:off x="4381200" y="4255082"/>
            <a:ext cx="6928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Power</a:t>
            </a:r>
            <a:endParaRPr lang="en-US" sz="1400" dirty="0"/>
          </a:p>
        </p:txBody>
      </p:sp>
      <p:sp>
        <p:nvSpPr>
          <p:cNvPr id="287" name="Textfeld 286"/>
          <p:cNvSpPr txBox="1"/>
          <p:nvPr/>
        </p:nvSpPr>
        <p:spPr>
          <a:xfrm>
            <a:off x="4381200" y="4776594"/>
            <a:ext cx="6928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Power</a:t>
            </a:r>
            <a:endParaRPr lang="en-US" sz="1400" dirty="0"/>
          </a:p>
        </p:txBody>
      </p:sp>
      <p:sp>
        <p:nvSpPr>
          <p:cNvPr id="288" name="Textfeld 287"/>
          <p:cNvSpPr txBox="1"/>
          <p:nvPr/>
        </p:nvSpPr>
        <p:spPr>
          <a:xfrm>
            <a:off x="8154030" y="2761352"/>
            <a:ext cx="6928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Power</a:t>
            </a:r>
            <a:endParaRPr lang="en-US" sz="1400" dirty="0"/>
          </a:p>
        </p:txBody>
      </p:sp>
      <p:sp>
        <p:nvSpPr>
          <p:cNvPr id="289" name="Textfeld 288"/>
          <p:cNvSpPr txBox="1"/>
          <p:nvPr/>
        </p:nvSpPr>
        <p:spPr>
          <a:xfrm>
            <a:off x="8827928" y="4804565"/>
            <a:ext cx="6719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power</a:t>
            </a:r>
            <a:endParaRPr lang="en-US" sz="1400" dirty="0"/>
          </a:p>
        </p:txBody>
      </p:sp>
      <p:sp>
        <p:nvSpPr>
          <p:cNvPr id="290" name="Textfeld 289"/>
          <p:cNvSpPr txBox="1"/>
          <p:nvPr/>
        </p:nvSpPr>
        <p:spPr>
          <a:xfrm>
            <a:off x="10517466" y="2734270"/>
            <a:ext cx="6719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power</a:t>
            </a:r>
            <a:endParaRPr lang="en-US" sz="1400" dirty="0"/>
          </a:p>
        </p:txBody>
      </p:sp>
      <p:sp>
        <p:nvSpPr>
          <p:cNvPr id="291" name="Textfeld 290"/>
          <p:cNvSpPr txBox="1"/>
          <p:nvPr/>
        </p:nvSpPr>
        <p:spPr>
          <a:xfrm>
            <a:off x="4859054" y="2143944"/>
            <a:ext cx="6719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power</a:t>
            </a:r>
            <a:endParaRPr lang="en-US" sz="1400" dirty="0"/>
          </a:p>
        </p:txBody>
      </p:sp>
      <p:sp>
        <p:nvSpPr>
          <p:cNvPr id="292" name="Textfeld 291"/>
          <p:cNvSpPr txBox="1"/>
          <p:nvPr/>
        </p:nvSpPr>
        <p:spPr>
          <a:xfrm>
            <a:off x="4560128" y="4423170"/>
            <a:ext cx="9813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 smtClean="0"/>
              <a:t>brushPow</a:t>
            </a:r>
            <a:endParaRPr lang="en-US" sz="1400" dirty="0"/>
          </a:p>
        </p:txBody>
      </p:sp>
      <p:sp>
        <p:nvSpPr>
          <p:cNvPr id="293" name="Textfeld 292"/>
          <p:cNvSpPr txBox="1"/>
          <p:nvPr/>
        </p:nvSpPr>
        <p:spPr>
          <a:xfrm>
            <a:off x="4712043" y="3883323"/>
            <a:ext cx="8130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 smtClean="0"/>
              <a:t>sucPow</a:t>
            </a:r>
            <a:endParaRPr lang="en-US" sz="1400" dirty="0"/>
          </a:p>
        </p:txBody>
      </p:sp>
      <p:sp>
        <p:nvSpPr>
          <p:cNvPr id="294" name="Textfeld 293"/>
          <p:cNvSpPr txBox="1"/>
          <p:nvPr/>
        </p:nvSpPr>
        <p:spPr>
          <a:xfrm>
            <a:off x="8031665" y="2169390"/>
            <a:ext cx="9813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 smtClean="0"/>
              <a:t>StateData</a:t>
            </a:r>
            <a:endParaRPr lang="en-US" sz="1400" dirty="0"/>
          </a:p>
        </p:txBody>
      </p:sp>
      <p:sp>
        <p:nvSpPr>
          <p:cNvPr id="295" name="Textfeld 294"/>
          <p:cNvSpPr txBox="1"/>
          <p:nvPr/>
        </p:nvSpPr>
        <p:spPr>
          <a:xfrm>
            <a:off x="7990756" y="1488000"/>
            <a:ext cx="11400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 smtClean="0"/>
              <a:t>ControlData</a:t>
            </a:r>
            <a:endParaRPr lang="en-US" sz="1400" dirty="0"/>
          </a:p>
        </p:txBody>
      </p:sp>
      <p:sp>
        <p:nvSpPr>
          <p:cNvPr id="296" name="Textfeld 295"/>
          <p:cNvSpPr txBox="1"/>
          <p:nvPr/>
        </p:nvSpPr>
        <p:spPr>
          <a:xfrm>
            <a:off x="7451011" y="2568850"/>
            <a:ext cx="5725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state</a:t>
            </a:r>
            <a:endParaRPr lang="en-US" sz="1400" dirty="0"/>
          </a:p>
        </p:txBody>
      </p:sp>
      <p:sp>
        <p:nvSpPr>
          <p:cNvPr id="297" name="Textfeld 296"/>
          <p:cNvSpPr txBox="1"/>
          <p:nvPr/>
        </p:nvSpPr>
        <p:spPr>
          <a:xfrm>
            <a:off x="8924055" y="2568850"/>
            <a:ext cx="5725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state</a:t>
            </a:r>
            <a:endParaRPr lang="en-US" sz="1400" dirty="0"/>
          </a:p>
        </p:txBody>
      </p:sp>
      <p:sp>
        <p:nvSpPr>
          <p:cNvPr id="299" name="Textfeld 298"/>
          <p:cNvSpPr txBox="1"/>
          <p:nvPr/>
        </p:nvSpPr>
        <p:spPr>
          <a:xfrm>
            <a:off x="7441550" y="1911580"/>
            <a:ext cx="10599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commands</a:t>
            </a:r>
            <a:endParaRPr lang="en-US" sz="1400" dirty="0"/>
          </a:p>
        </p:txBody>
      </p:sp>
      <p:sp>
        <p:nvSpPr>
          <p:cNvPr id="300" name="Textfeld 299"/>
          <p:cNvSpPr txBox="1"/>
          <p:nvPr/>
        </p:nvSpPr>
        <p:spPr>
          <a:xfrm>
            <a:off x="8451602" y="1911580"/>
            <a:ext cx="10599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commands</a:t>
            </a:r>
            <a:endParaRPr lang="en-US" sz="1400" dirty="0"/>
          </a:p>
        </p:txBody>
      </p:sp>
      <p:sp>
        <p:nvSpPr>
          <p:cNvPr id="301" name="Gleichschenkliges Dreieck 300"/>
          <p:cNvSpPr>
            <a:spLocks noChangeAspect="1"/>
          </p:cNvSpPr>
          <p:nvPr/>
        </p:nvSpPr>
        <p:spPr>
          <a:xfrm>
            <a:off x="6233158" y="3393267"/>
            <a:ext cx="216000" cy="108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2" name="Textfeld 301"/>
          <p:cNvSpPr txBox="1"/>
          <p:nvPr/>
        </p:nvSpPr>
        <p:spPr>
          <a:xfrm>
            <a:off x="5760493" y="3298390"/>
            <a:ext cx="5533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Real</a:t>
            </a:r>
            <a:endParaRPr lang="en-US" sz="1400" dirty="0"/>
          </a:p>
        </p:txBody>
      </p:sp>
      <p:sp>
        <p:nvSpPr>
          <p:cNvPr id="303" name="Textfeld 302"/>
          <p:cNvSpPr txBox="1"/>
          <p:nvPr/>
        </p:nvSpPr>
        <p:spPr>
          <a:xfrm>
            <a:off x="5122815" y="3686193"/>
            <a:ext cx="11993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 smtClean="0"/>
              <a:t>contentLevel</a:t>
            </a:r>
            <a:endParaRPr lang="en-US" sz="1400" dirty="0"/>
          </a:p>
        </p:txBody>
      </p:sp>
      <p:sp>
        <p:nvSpPr>
          <p:cNvPr id="304" name="Textfeld 303"/>
          <p:cNvSpPr txBox="1"/>
          <p:nvPr/>
        </p:nvSpPr>
        <p:spPr>
          <a:xfrm>
            <a:off x="5124743" y="2764800"/>
            <a:ext cx="11993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 smtClean="0"/>
              <a:t>contentLevel</a:t>
            </a:r>
            <a:endParaRPr lang="en-US" sz="1400" dirty="0"/>
          </a:p>
        </p:txBody>
      </p:sp>
      <p:grpSp>
        <p:nvGrpSpPr>
          <p:cNvPr id="305" name="Gruppieren 304"/>
          <p:cNvGrpSpPr/>
          <p:nvPr/>
        </p:nvGrpSpPr>
        <p:grpSpPr>
          <a:xfrm rot="5400000">
            <a:off x="6869839" y="2707274"/>
            <a:ext cx="289002" cy="206373"/>
            <a:chOff x="-1267430" y="1633918"/>
            <a:chExt cx="355148" cy="264360"/>
          </a:xfrm>
        </p:grpSpPr>
        <p:sp>
          <p:nvSpPr>
            <p:cNvPr id="306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07" name="Gerader Verbinder 306"/>
            <p:cNvCxnSpPr>
              <a:stCxn id="306" idx="0"/>
              <a:endCxn id="306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" name="Gerader Verbinder 307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9" name="Gerader Verbinder 308"/>
            <p:cNvCxnSpPr>
              <a:stCxn id="306" idx="3"/>
              <a:endCxn id="306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0" name="Gerader Verbinder 309"/>
            <p:cNvCxnSpPr>
              <a:stCxn id="306" idx="1"/>
              <a:endCxn id="306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3" name="Gruppieren 312"/>
          <p:cNvGrpSpPr/>
          <p:nvPr/>
        </p:nvGrpSpPr>
        <p:grpSpPr>
          <a:xfrm>
            <a:off x="9286300" y="4126980"/>
            <a:ext cx="289002" cy="206373"/>
            <a:chOff x="-1267430" y="1633918"/>
            <a:chExt cx="355148" cy="264360"/>
          </a:xfrm>
        </p:grpSpPr>
        <p:sp>
          <p:nvSpPr>
            <p:cNvPr id="314" name="Rectangle 118">
              <a:extLst>
                <a:ext uri="{FF2B5EF4-FFF2-40B4-BE49-F238E27FC236}">
                  <a16:creationId xmlns:a16="http://schemas.microsoft.com/office/drawing/2014/main" id="{6015791B-57BD-429E-8806-1EEAD2B9A0CE}"/>
                </a:ext>
              </a:extLst>
            </p:cNvPr>
            <p:cNvSpPr/>
            <p:nvPr/>
          </p:nvSpPr>
          <p:spPr>
            <a:xfrm rot="16200000">
              <a:off x="-1222036" y="1588524"/>
              <a:ext cx="264360" cy="3551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15" name="Gerader Verbinder 314"/>
            <p:cNvCxnSpPr>
              <a:stCxn id="314" idx="0"/>
              <a:endCxn id="314" idx="2"/>
            </p:cNvCxnSpPr>
            <p:nvPr/>
          </p:nvCxnSpPr>
          <p:spPr>
            <a:xfrm>
              <a:off x="-1267430" y="1766098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6" name="Gerader Verbinder 315"/>
            <p:cNvCxnSpPr/>
            <p:nvPr/>
          </p:nvCxnSpPr>
          <p:spPr>
            <a:xfrm>
              <a:off x="-1267429" y="1766097"/>
              <a:ext cx="35514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7" name="Gerader Verbinder 316"/>
            <p:cNvCxnSpPr>
              <a:stCxn id="314" idx="3"/>
              <a:endCxn id="314" idx="2"/>
            </p:cNvCxnSpPr>
            <p:nvPr/>
          </p:nvCxnSpPr>
          <p:spPr>
            <a:xfrm>
              <a:off x="-1089856" y="163391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8" name="Gerader Verbinder 317"/>
            <p:cNvCxnSpPr>
              <a:stCxn id="314" idx="1"/>
              <a:endCxn id="314" idx="2"/>
            </p:cNvCxnSpPr>
            <p:nvPr/>
          </p:nvCxnSpPr>
          <p:spPr>
            <a:xfrm flipV="1">
              <a:off x="-1089856" y="1766098"/>
              <a:ext cx="177573" cy="13218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9" name="Gewinkelter Verbinder 318"/>
          <p:cNvCxnSpPr>
            <a:stCxn id="306" idx="2"/>
          </p:cNvCxnSpPr>
          <p:nvPr/>
        </p:nvCxnSpPr>
        <p:spPr>
          <a:xfrm rot="16200000" flipH="1">
            <a:off x="7507757" y="2461545"/>
            <a:ext cx="1275205" cy="2262036"/>
          </a:xfrm>
          <a:prstGeom prst="bentConnector4">
            <a:avLst>
              <a:gd name="adj1" fmla="val 46043"/>
              <a:gd name="adj2" fmla="val 8247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Gleichschenkliges Dreieck 330"/>
          <p:cNvSpPr>
            <a:spLocks noChangeAspect="1"/>
          </p:cNvSpPr>
          <p:nvPr/>
        </p:nvSpPr>
        <p:spPr>
          <a:xfrm rot="5400000">
            <a:off x="8435945" y="3495604"/>
            <a:ext cx="216000" cy="108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2" name="Textfeld 331"/>
          <p:cNvSpPr txBox="1"/>
          <p:nvPr/>
        </p:nvSpPr>
        <p:spPr>
          <a:xfrm>
            <a:off x="8086509" y="3203121"/>
            <a:ext cx="8915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Direction</a:t>
            </a:r>
            <a:endParaRPr lang="en-US" sz="1400" dirty="0"/>
          </a:p>
        </p:txBody>
      </p:sp>
      <p:sp>
        <p:nvSpPr>
          <p:cNvPr id="333" name="Textfeld 332"/>
          <p:cNvSpPr txBox="1"/>
          <p:nvPr/>
        </p:nvSpPr>
        <p:spPr>
          <a:xfrm>
            <a:off x="7081571" y="2765977"/>
            <a:ext cx="8210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steering</a:t>
            </a:r>
            <a:endParaRPr lang="en-US" sz="1400" dirty="0"/>
          </a:p>
        </p:txBody>
      </p:sp>
      <p:sp>
        <p:nvSpPr>
          <p:cNvPr id="334" name="Textfeld 333"/>
          <p:cNvSpPr txBox="1"/>
          <p:nvPr/>
        </p:nvSpPr>
        <p:spPr>
          <a:xfrm>
            <a:off x="8690449" y="4248656"/>
            <a:ext cx="8210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steering</a:t>
            </a:r>
            <a:endParaRPr lang="en-US" sz="1400" dirty="0"/>
          </a:p>
        </p:txBody>
      </p:sp>
      <p:sp>
        <p:nvSpPr>
          <p:cNvPr id="335" name="Textfeld 334"/>
          <p:cNvSpPr txBox="1"/>
          <p:nvPr/>
        </p:nvSpPr>
        <p:spPr>
          <a:xfrm>
            <a:off x="3745945" y="2050476"/>
            <a:ext cx="8018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 smtClean="0"/>
              <a:t>powOut</a:t>
            </a:r>
            <a:endParaRPr lang="en-US" sz="1400" dirty="0"/>
          </a:p>
        </p:txBody>
      </p:sp>
      <p:sp>
        <p:nvSpPr>
          <p:cNvPr id="336" name="Textfeld 335"/>
          <p:cNvSpPr txBox="1"/>
          <p:nvPr/>
        </p:nvSpPr>
        <p:spPr>
          <a:xfrm>
            <a:off x="1034335" y="1951227"/>
            <a:ext cx="1726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 smtClean="0"/>
              <a:t>powerConsumption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707934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XYJ0et8bEL40wfGkq4xg"/>
</p:tagLst>
</file>

<file path=ppt/theme/theme1.xml><?xml version="1.0" encoding="utf-8"?>
<a:theme xmlns:a="http://schemas.openxmlformats.org/drawingml/2006/main" name="DesignSE">
  <a:themeElements>
    <a:clrScheme name="Editirmodus">
      <a:dk1>
        <a:sysClr val="windowText" lastClr="000000"/>
      </a:dk1>
      <a:lt1>
        <a:sysClr val="window" lastClr="FFFFFF"/>
      </a:lt1>
      <a:dk2>
        <a:srgbClr val="00549F"/>
      </a:dk2>
      <a:lt2>
        <a:srgbClr val="8EBAE5"/>
      </a:lt2>
      <a:accent1>
        <a:srgbClr val="006165"/>
      </a:accent1>
      <a:accent2>
        <a:srgbClr val="0098A1"/>
      </a:accent2>
      <a:accent3>
        <a:srgbClr val="57AB27"/>
      </a:accent3>
      <a:accent4>
        <a:srgbClr val="339933"/>
      </a:accent4>
      <a:accent5>
        <a:srgbClr val="F6A800"/>
      </a:accent5>
      <a:accent6>
        <a:srgbClr val="CC071E"/>
      </a:accent6>
      <a:hlink>
        <a:srgbClr val="612158"/>
      </a:hlink>
      <a:folHlink>
        <a:srgbClr val="7A6F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1"/>
          </a:solidFill>
          <a:headEnd type="none" w="med" len="med"/>
          <a:tailEnd type="arrow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ditirmodus">
        <a:dk1>
          <a:sysClr val="windowText" lastClr="000000"/>
        </a:dk1>
        <a:lt1>
          <a:sysClr val="window" lastClr="FFFFFF"/>
        </a:lt1>
        <a:dk2>
          <a:srgbClr val="00549F"/>
        </a:dk2>
        <a:lt2>
          <a:srgbClr val="8EBAE5"/>
        </a:lt2>
        <a:accent1>
          <a:srgbClr val="006165"/>
        </a:accent1>
        <a:accent2>
          <a:srgbClr val="0098A1"/>
        </a:accent2>
        <a:accent3>
          <a:srgbClr val="57AB27"/>
        </a:accent3>
        <a:accent4>
          <a:srgbClr val="339933"/>
        </a:accent4>
        <a:accent5>
          <a:srgbClr val="F6A800"/>
        </a:accent5>
        <a:accent6>
          <a:srgbClr val="CC071E"/>
        </a:accent6>
        <a:hlink>
          <a:srgbClr val="612158"/>
        </a:hlink>
        <a:folHlink>
          <a:srgbClr val="7A6FAC"/>
        </a:folHlink>
      </a:clrScheme>
    </a:extraClrScheme>
    <a:extraClrScheme>
      <a:clrScheme name="Anzeigemodus">
        <a:dk1>
          <a:sysClr val="windowText" lastClr="000000"/>
        </a:dk1>
        <a:lt1>
          <a:sysClr val="window" lastClr="FFFFFF"/>
        </a:lt1>
        <a:dk2>
          <a:srgbClr val="00549F"/>
        </a:dk2>
        <a:lt2>
          <a:srgbClr val="8EBAE5"/>
        </a:lt2>
        <a:accent1>
          <a:srgbClr val="006165"/>
        </a:accent1>
        <a:accent2>
          <a:srgbClr val="0098A1"/>
        </a:accent2>
        <a:accent3>
          <a:srgbClr val="57AB27"/>
        </a:accent3>
        <a:accent4>
          <a:srgbClr val="C0C0C0"/>
        </a:accent4>
        <a:accent5>
          <a:srgbClr val="F6A800"/>
        </a:accent5>
        <a:accent6>
          <a:srgbClr val="CC071E"/>
        </a:accent6>
        <a:hlink>
          <a:srgbClr val="612158"/>
        </a:hlink>
        <a:folHlink>
          <a:srgbClr val="7A6FAC"/>
        </a:folHlink>
      </a:clrScheme>
    </a:extraClrScheme>
    <a:extraClrScheme>
      <a:clrScheme name="Druckmodus">
        <a:dk1>
          <a:sysClr val="windowText" lastClr="000000"/>
        </a:dk1>
        <a:lt1>
          <a:sysClr val="window" lastClr="FFFFFF"/>
        </a:lt1>
        <a:dk2>
          <a:srgbClr val="00549F"/>
        </a:dk2>
        <a:lt2>
          <a:srgbClr val="8EBAE5"/>
        </a:lt2>
        <a:accent1>
          <a:srgbClr val="006165"/>
        </a:accent1>
        <a:accent2>
          <a:srgbClr val="0098A1"/>
        </a:accent2>
        <a:accent3>
          <a:srgbClr val="57AB27"/>
        </a:accent3>
        <a:accent4>
          <a:srgbClr val="FFFFFF"/>
        </a:accent4>
        <a:accent5>
          <a:srgbClr val="F6A800"/>
        </a:accent5>
        <a:accent6>
          <a:srgbClr val="CC071E"/>
        </a:accent6>
        <a:hlink>
          <a:srgbClr val="612158"/>
        </a:hlink>
        <a:folHlink>
          <a:srgbClr val="7A6FAC"/>
        </a:folHlink>
      </a:clrScheme>
    </a:extraClrScheme>
  </a:extraClrSchemeLst>
  <a:extLst>
    <a:ext uri="{05A4C25C-085E-4340-85A3-A5531E510DB2}">
      <thm15:themeFamily xmlns:thm15="http://schemas.microsoft.com/office/thememl/2012/main" name="DesignSE" id="{EAFC8903-E4B1-467C-960D-91660CE78A0A}" vid="{99D41127-BE3F-4F81-BB33-06BFE3C9306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3</Words>
  <Application>Microsoft Office PowerPoint</Application>
  <PresentationFormat>Breitbild</PresentationFormat>
  <Paragraphs>43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ＭＳ Ｐゴシック</vt:lpstr>
      <vt:lpstr>Arial</vt:lpstr>
      <vt:lpstr>Calibri</vt:lpstr>
      <vt:lpstr>Symbol</vt:lpstr>
      <vt:lpstr>Wingdings</vt:lpstr>
      <vt:lpstr>DesignSE</vt:lpstr>
      <vt:lpstr>think-cell Folie</vt:lpstr>
      <vt:lpstr>Vacuum Cleaner System – Top Level Decomposi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indows-Benutzer</dc:creator>
  <cp:lastModifiedBy>Nico Jansen</cp:lastModifiedBy>
  <cp:revision>1526</cp:revision>
  <cp:lastPrinted>2019-08-05T09:20:27Z</cp:lastPrinted>
  <dcterms:created xsi:type="dcterms:W3CDTF">2019-02-06T21:20:56Z</dcterms:created>
  <dcterms:modified xsi:type="dcterms:W3CDTF">2021-11-01T21:00:32Z</dcterms:modified>
</cp:coreProperties>
</file>